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6.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9.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1.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2.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193" r:id="rId1"/>
    <p:sldMasterId id="2147484209" r:id="rId2"/>
    <p:sldMasterId id="2147484244" r:id="rId3"/>
    <p:sldMasterId id="2147484276" r:id="rId4"/>
    <p:sldMasterId id="2147484290" r:id="rId5"/>
    <p:sldMasterId id="2147484304" r:id="rId6"/>
    <p:sldMasterId id="2147484316" r:id="rId7"/>
    <p:sldMasterId id="2147484325" r:id="rId8"/>
    <p:sldMasterId id="2147484334" r:id="rId9"/>
    <p:sldMasterId id="2147484343" r:id="rId10"/>
    <p:sldMasterId id="2147484352" r:id="rId11"/>
    <p:sldMasterId id="2147484360" r:id="rId12"/>
    <p:sldMasterId id="2147484373" r:id="rId13"/>
  </p:sldMasterIdLst>
  <p:notesMasterIdLst>
    <p:notesMasterId r:id="rId44"/>
  </p:notesMasterIdLst>
  <p:handoutMasterIdLst>
    <p:handoutMasterId r:id="rId45"/>
  </p:handoutMasterIdLst>
  <p:sldIdLst>
    <p:sldId id="1219" r:id="rId14"/>
    <p:sldId id="1218" r:id="rId15"/>
    <p:sldId id="1189" r:id="rId16"/>
    <p:sldId id="1190" r:id="rId17"/>
    <p:sldId id="1170" r:id="rId18"/>
    <p:sldId id="1171" r:id="rId19"/>
    <p:sldId id="1174" r:id="rId20"/>
    <p:sldId id="1175" r:id="rId21"/>
    <p:sldId id="1176" r:id="rId22"/>
    <p:sldId id="1177" r:id="rId23"/>
    <p:sldId id="1178" r:id="rId24"/>
    <p:sldId id="1182" r:id="rId25"/>
    <p:sldId id="1184" r:id="rId26"/>
    <p:sldId id="1179" r:id="rId27"/>
    <p:sldId id="1180" r:id="rId28"/>
    <p:sldId id="1181" r:id="rId29"/>
    <p:sldId id="1213" r:id="rId30"/>
    <p:sldId id="1187" r:id="rId31"/>
    <p:sldId id="1232" r:id="rId32"/>
    <p:sldId id="1233" r:id="rId33"/>
    <p:sldId id="1222" r:id="rId34"/>
    <p:sldId id="1223" r:id="rId35"/>
    <p:sldId id="1224" r:id="rId36"/>
    <p:sldId id="1225" r:id="rId37"/>
    <p:sldId id="1226" r:id="rId38"/>
    <p:sldId id="1227" r:id="rId39"/>
    <p:sldId id="1228" r:id="rId40"/>
    <p:sldId id="1229" r:id="rId41"/>
    <p:sldId id="1230" r:id="rId42"/>
    <p:sldId id="1231" r:id="rId4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bCamp ASPNET5" id="{6DD5C800-9A2C-4823-B056-4AFFC9A97500}">
          <p14:sldIdLst>
            <p14:sldId id="1219"/>
            <p14:sldId id="1218"/>
            <p14:sldId id="1189"/>
            <p14:sldId id="1190"/>
            <p14:sldId id="1170"/>
            <p14:sldId id="1171"/>
            <p14:sldId id="1174"/>
            <p14:sldId id="1175"/>
            <p14:sldId id="1176"/>
            <p14:sldId id="1177"/>
            <p14:sldId id="1178"/>
            <p14:sldId id="1182"/>
            <p14:sldId id="1184"/>
            <p14:sldId id="1179"/>
            <p14:sldId id="1180"/>
            <p14:sldId id="1181"/>
            <p14:sldId id="1213"/>
            <p14:sldId id="1187"/>
            <p14:sldId id="1232"/>
            <p14:sldId id="1233"/>
            <p14:sldId id="1222"/>
            <p14:sldId id="1223"/>
            <p14:sldId id="1224"/>
            <p14:sldId id="1225"/>
            <p14:sldId id="1226"/>
            <p14:sldId id="1227"/>
            <p14:sldId id="1228"/>
            <p14:sldId id="1229"/>
            <p14:sldId id="1230"/>
            <p14:sldId id="1231"/>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3E38"/>
    <a:srgbClr val="002050"/>
    <a:srgbClr val="7FBA00"/>
    <a:srgbClr val="0072C6"/>
    <a:srgbClr val="F25022"/>
    <a:srgbClr val="FFFFFF"/>
    <a:srgbClr val="007233"/>
    <a:srgbClr val="B4009E"/>
    <a:srgbClr val="B0B186"/>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34" autoAdjust="0"/>
    <p:restoredTop sz="77509" autoAdjust="0"/>
  </p:normalViewPr>
  <p:slideViewPr>
    <p:cSldViewPr snapToGrid="0">
      <p:cViewPr varScale="1">
        <p:scale>
          <a:sx n="71" d="100"/>
          <a:sy n="71" d="100"/>
        </p:scale>
        <p:origin x="893" y="67"/>
      </p:cViewPr>
      <p:guideLst>
        <p:guide orient="horz" pos="2203"/>
        <p:guide pos="3917"/>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4236"/>
    </p:cViewPr>
  </p:sorterViewPr>
  <p:notesViewPr>
    <p:cSldViewPr snapToGrid="0" showGuides="1">
      <p:cViewPr>
        <p:scale>
          <a:sx n="100" d="100"/>
          <a:sy n="100" d="100"/>
        </p:scale>
        <p:origin x="2400" y="-8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commentAuthors" Target="commentAuthors.xml"/><Relationship Id="rId20" Type="http://schemas.openxmlformats.org/officeDocument/2006/relationships/slide" Target="slides/slide7.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Microsoft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EC6E1314-C6B1-42B6-937D-736F8A40C2C5}" type="presOf" srcId="{ACD2CAE5-6CA8-422A-A552-FA71416125D4}" destId="{81B22F2D-5B8A-447B-B1AF-78E703F0FBA8}" srcOrd="0" destOrd="0" presId="urn:microsoft.com/office/officeart/2005/8/layout/default"/>
    <dgm:cxn modelId="{8DAA4B2C-19A8-4E6F-8AD4-161C1F3F09C8}" type="presOf" srcId="{2E47A735-2E54-47D4-8D7B-43DAE317DE22}" destId="{5222C5B1-7198-4817-8170-EA15671F32D9}" srcOrd="0" destOrd="0" presId="urn:microsoft.com/office/officeart/2005/8/layout/default"/>
    <dgm:cxn modelId="{0F5E5F46-AF72-4A2A-B1BD-CA2ABB3EE99B}" type="presOf" srcId="{BFC0E547-38ED-4BF5-BBFB-41676C651BA4}" destId="{C12961E1-1B5A-4A16-B7D5-F0E2A81007BC}"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C49FD9FD-EB55-478E-9BF8-7A33842FBAC1}" srcId="{48914873-C460-43A6-8A7F-9F5DC4D43744}" destId="{17EC96CC-6899-43CC-99D8-2B5B67C93827}" srcOrd="1" destOrd="0" parTransId="{19BEF542-9A55-4227-958B-7672C8A3F132}" sibTransId="{1108C22D-D867-484A-A5AB-C27F9AE80D39}"/>
    <dgm:cxn modelId="{8BB866E2-DF92-422B-8A71-8F6615714379}" type="presOf" srcId="{48914873-C460-43A6-8A7F-9F5DC4D43744}" destId="{17397D43-AE20-4DE6-BB81-F05A7B561DB3}" srcOrd="0" destOrd="0" presId="urn:microsoft.com/office/officeart/2005/8/layout/default"/>
    <dgm:cxn modelId="{99A7BCC1-FF22-48D5-89A7-E69CB9FF575D}" type="presOf" srcId="{17EC96CC-6899-43CC-99D8-2B5B67C93827}" destId="{BFD6C2D9-8EAF-4814-9068-92EC26CD3430}"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8D08C8B4-C422-4686-95E4-8F0D061232C2}" type="presParOf" srcId="{17397D43-AE20-4DE6-BB81-F05A7B561DB3}" destId="{81B22F2D-5B8A-447B-B1AF-78E703F0FBA8}" srcOrd="0" destOrd="0" presId="urn:microsoft.com/office/officeart/2005/8/layout/default"/>
    <dgm:cxn modelId="{A59C295F-E94F-4C52-8A07-9202DB826E43}" type="presParOf" srcId="{17397D43-AE20-4DE6-BB81-F05A7B561DB3}" destId="{06199EA7-9AD7-47F3-B47F-9C74788B88C1}" srcOrd="1" destOrd="0" presId="urn:microsoft.com/office/officeart/2005/8/layout/default"/>
    <dgm:cxn modelId="{A1A09804-D33D-4C6A-B3BA-F8E2BFCAB927}" type="presParOf" srcId="{17397D43-AE20-4DE6-BB81-F05A7B561DB3}" destId="{BFD6C2D9-8EAF-4814-9068-92EC26CD3430}" srcOrd="2" destOrd="0" presId="urn:microsoft.com/office/officeart/2005/8/layout/default"/>
    <dgm:cxn modelId="{0A5D7E61-8F1B-40C7-97B6-5FA892386A18}" type="presParOf" srcId="{17397D43-AE20-4DE6-BB81-F05A7B561DB3}" destId="{EC02AEF8-BB51-41CC-AC54-784DB938A98C}" srcOrd="3" destOrd="0" presId="urn:microsoft.com/office/officeart/2005/8/layout/default"/>
    <dgm:cxn modelId="{37D50A5F-F175-4299-A54E-4282A938583E}" type="presParOf" srcId="{17397D43-AE20-4DE6-BB81-F05A7B561DB3}" destId="{C12961E1-1B5A-4A16-B7D5-F0E2A81007BC}" srcOrd="4" destOrd="0" presId="urn:microsoft.com/office/officeart/2005/8/layout/default"/>
    <dgm:cxn modelId="{B284CCFB-DBF3-42F4-9AB0-41AEA40F9514}" type="presParOf" srcId="{17397D43-AE20-4DE6-BB81-F05A7B561DB3}" destId="{C30E35A3-FC57-42FA-B43B-70825F5A7012}" srcOrd="5" destOrd="0" presId="urn:microsoft.com/office/officeart/2005/8/layout/default"/>
    <dgm:cxn modelId="{3A50FCE7-5FDA-442D-84B0-B1AE6533F108}"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and Visual Studio 2013 Web Tooling</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the latest ASP.NET technologies</a:t>
          </a:r>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86A20244-5C10-4D99-A135-EE1FC94007AD}">
      <dgm:prSet custT="1"/>
      <dgm:spPr/>
      <dgm:t>
        <a:bodyPr/>
        <a:lstStyle/>
        <a:p>
          <a:r>
            <a:rPr lang="en-US" sz="1800" dirty="0" smtClean="0"/>
            <a:t>Real-time Communications with SignalR</a:t>
          </a:r>
        </a:p>
      </dgm:t>
    </dgm:pt>
    <dgm:pt modelId="{FE14AF2E-79F5-45B1-95EB-BBC061ED2848}" type="parTrans" cxnId="{AF849700-E68A-447A-B4CD-C55696CF082A}">
      <dgm:prSet/>
      <dgm:spPr/>
      <dgm:t>
        <a:bodyPr/>
        <a:lstStyle/>
        <a:p>
          <a:endParaRPr lang="en-US" sz="4000"/>
        </a:p>
      </dgm:t>
    </dgm:pt>
    <dgm:pt modelId="{2F9B0FED-66DD-4DA5-B56E-BF19210A7B32}" type="sibTrans" cxnId="{AF849700-E68A-447A-B4CD-C55696CF082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6"/>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6"/>
      <dgm:spPr/>
      <dgm:t>
        <a:bodyPr/>
        <a:lstStyle/>
        <a:p>
          <a:endParaRPr lang="en-US"/>
        </a:p>
      </dgm:t>
    </dgm:pt>
    <dgm:pt modelId="{A169A3DF-3482-4DB4-A369-65C9EACA0A7B}" type="pres">
      <dgm:prSet presAssocID="{48914873-C460-43A6-8A7F-9F5DC4D43744}" presName="dstNode" presStyleLbl="node1" presStyleIdx="0" presStyleCnt="6"/>
      <dgm:spPr/>
      <dgm:t>
        <a:bodyPr/>
        <a:lstStyle/>
        <a:p>
          <a:endParaRPr lang="en-US"/>
        </a:p>
      </dgm:t>
    </dgm:pt>
    <dgm:pt modelId="{458817C7-6BEC-45B3-895F-78F93D5B61B1}" type="pres">
      <dgm:prSet presAssocID="{2A698087-0C77-46BC-BEE3-9DD62B31079B}" presName="text_1" presStyleLbl="node1" presStyleIdx="0" presStyleCnt="6">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6"/>
      <dgm:spPr/>
      <dgm:t>
        <a:bodyPr/>
        <a:lstStyle/>
        <a:p>
          <a:endParaRPr lang="en-US"/>
        </a:p>
      </dgm:t>
    </dgm:pt>
    <dgm:pt modelId="{B710CF74-13DC-491D-8AA7-EE713AB0A121}" type="pres">
      <dgm:prSet presAssocID="{78E86AF5-BDE7-40A2-BB48-3781EBA8B21E}" presName="text_2" presStyleLbl="node1" presStyleIdx="1" presStyleCnt="6">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6"/>
      <dgm:spPr/>
      <dgm:t>
        <a:bodyPr/>
        <a:lstStyle/>
        <a:p>
          <a:endParaRPr lang="en-US"/>
        </a:p>
      </dgm:t>
    </dgm:pt>
    <dgm:pt modelId="{F4DCD2E3-C30A-4106-8870-66D02E4ED2D8}" type="pres">
      <dgm:prSet presAssocID="{C21281DC-F931-4E9C-942D-AD3EB61A6EA2}" presName="text_3" presStyleLbl="node1" presStyleIdx="2" presStyleCnt="6">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6"/>
      <dgm:spPr/>
      <dgm:t>
        <a:bodyPr/>
        <a:lstStyle/>
        <a:p>
          <a:endParaRPr lang="en-US"/>
        </a:p>
      </dgm:t>
    </dgm:pt>
    <dgm:pt modelId="{C6D19E84-6DD9-43A3-921E-AC3C76D4EF46}" type="pres">
      <dgm:prSet presAssocID="{68987326-02A7-40EE-8530-CA56E5E2ED4A}" presName="text_4" presStyleLbl="node1" presStyleIdx="3" presStyleCnt="6">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6"/>
      <dgm:spPr/>
      <dgm:t>
        <a:bodyPr/>
        <a:lstStyle/>
        <a:p>
          <a:endParaRPr lang="en-US"/>
        </a:p>
      </dgm:t>
    </dgm:pt>
    <dgm:pt modelId="{537CCD8C-EC29-4A94-81A7-0B4E010ADBB1}" type="pres">
      <dgm:prSet presAssocID="{312DE6B4-F0D4-4BC3-A484-5E27BC83857C}" presName="text_5" presStyleLbl="node1" presStyleIdx="4" presStyleCnt="6">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6"/>
      <dgm:spPr/>
      <dgm:t>
        <a:bodyPr/>
        <a:lstStyle/>
        <a:p>
          <a:endParaRPr lang="en-US"/>
        </a:p>
      </dgm:t>
    </dgm:pt>
    <dgm:pt modelId="{3CDC6EAF-654A-40F3-B5C2-E5916E974EC3}" type="pres">
      <dgm:prSet presAssocID="{86A20244-5C10-4D99-A135-EE1FC94007AD}" presName="text_6" presStyleLbl="node1" presStyleIdx="5" presStyleCnt="6">
        <dgm:presLayoutVars>
          <dgm:bulletEnabled val="1"/>
        </dgm:presLayoutVars>
      </dgm:prSet>
      <dgm:spPr/>
      <dgm:t>
        <a:bodyPr/>
        <a:lstStyle/>
        <a:p>
          <a:endParaRPr lang="en-US"/>
        </a:p>
      </dgm:t>
    </dgm:pt>
    <dgm:pt modelId="{21C48A64-174B-48FC-BB5E-A8F8A2730864}" type="pres">
      <dgm:prSet presAssocID="{86A20244-5C10-4D99-A135-EE1FC94007AD}" presName="accent_6" presStyleCnt="0"/>
      <dgm:spPr/>
      <dgm:t>
        <a:bodyPr/>
        <a:lstStyle/>
        <a:p>
          <a:endParaRPr lang="en-US"/>
        </a:p>
      </dgm:t>
    </dgm:pt>
    <dgm:pt modelId="{0890763D-4DAB-412B-8174-6F5ADECA768A}" type="pres">
      <dgm:prSet presAssocID="{86A20244-5C10-4D99-A135-EE1FC94007AD}" presName="accentRepeatNode" presStyleLbl="solidFgAcc1" presStyleIdx="5" presStyleCnt="6"/>
      <dgm:spPr/>
      <dgm:t>
        <a:bodyPr/>
        <a:lstStyle/>
        <a:p>
          <a:endParaRPr lang="en-US"/>
        </a:p>
      </dgm:t>
    </dgm:pt>
  </dgm:ptLst>
  <dgm:cxnLst>
    <dgm:cxn modelId="{B7E08669-60B2-4B2D-9D13-99506069B54A}" srcId="{48914873-C460-43A6-8A7F-9F5DC4D43744}" destId="{312DE6B4-F0D4-4BC3-A484-5E27BC83857C}" srcOrd="4" destOrd="0" parTransId="{1EE57FA4-84BD-4211-895C-96AD4EADAFFD}" sibTransId="{C8EDAA7C-A942-4EE9-85AC-D63CFA73981F}"/>
    <dgm:cxn modelId="{9732441B-1070-4844-8B23-1F2A5EDFD7DA}" srcId="{48914873-C460-43A6-8A7F-9F5DC4D43744}" destId="{2A698087-0C77-46BC-BEE3-9DD62B31079B}" srcOrd="0" destOrd="0" parTransId="{545886D5-ECF3-47AB-A738-82363A11B743}" sibTransId="{DF51E2A6-ABF0-49DE-8ADB-388659769540}"/>
    <dgm:cxn modelId="{FEA2397D-E019-4BCD-B13E-9066C9B35C59}" type="presOf" srcId="{78E86AF5-BDE7-40A2-BB48-3781EBA8B21E}" destId="{B710CF74-13DC-491D-8AA7-EE713AB0A121}" srcOrd="0" destOrd="0" presId="urn:microsoft.com/office/officeart/2008/layout/VerticalCurvedList"/>
    <dgm:cxn modelId="{EFE2E911-4029-4A8B-85A0-480427BD0EAC}" type="presOf" srcId="{86A20244-5C10-4D99-A135-EE1FC94007AD}" destId="{3CDC6EAF-654A-40F3-B5C2-E5916E974EC3}" srcOrd="0" destOrd="0" presId="urn:microsoft.com/office/officeart/2008/layout/VerticalCurvedList"/>
    <dgm:cxn modelId="{2CA97F6B-D4E0-40CC-8810-F1D4C2287703}" type="presOf" srcId="{68987326-02A7-40EE-8530-CA56E5E2ED4A}" destId="{C6D19E84-6DD9-43A3-921E-AC3C76D4EF46}"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F6674D8B-17C7-44AD-9FE9-263237AFB7C8}" srcId="{48914873-C460-43A6-8A7F-9F5DC4D43744}" destId="{C21281DC-F931-4E9C-942D-AD3EB61A6EA2}" srcOrd="2" destOrd="0" parTransId="{CE76D537-E9A7-42C7-A80C-3D5851E6C500}" sibTransId="{9893ECAB-749E-4545-8A16-72B6B438B424}"/>
    <dgm:cxn modelId="{888DB6B4-A8C5-4E5F-A087-7E56191666DE}" type="presOf" srcId="{48914873-C460-43A6-8A7F-9F5DC4D43744}" destId="{3B73ACC1-496C-40F5-B241-D7E8E221BFF7}" srcOrd="0" destOrd="0" presId="urn:microsoft.com/office/officeart/2008/layout/VerticalCurvedList"/>
    <dgm:cxn modelId="{C6BB5A8C-099D-45BC-B6D0-DDCA3FCB3608}" type="presOf" srcId="{2A698087-0C77-46BC-BEE3-9DD62B31079B}" destId="{458817C7-6BEC-45B3-895F-78F93D5B61B1}" srcOrd="0" destOrd="0" presId="urn:microsoft.com/office/officeart/2008/layout/VerticalCurvedList"/>
    <dgm:cxn modelId="{25E682B4-A10B-40DA-B579-73E514F52CDD}" type="presOf" srcId="{312DE6B4-F0D4-4BC3-A484-5E27BC83857C}" destId="{537CCD8C-EC29-4A94-81A7-0B4E010ADBB1}" srcOrd="0" destOrd="0" presId="urn:microsoft.com/office/officeart/2008/layout/VerticalCurvedList"/>
    <dgm:cxn modelId="{AF849700-E68A-447A-B4CD-C55696CF082A}" srcId="{48914873-C460-43A6-8A7F-9F5DC4D43744}" destId="{86A20244-5C10-4D99-A135-EE1FC94007AD}" srcOrd="5" destOrd="0" parTransId="{FE14AF2E-79F5-45B1-95EB-BBC061ED2848}" sibTransId="{2F9B0FED-66DD-4DA5-B56E-BF19210A7B32}"/>
    <dgm:cxn modelId="{06EA80B0-E8C3-4C03-A0DB-C92B8A74D9D4}" srcId="{48914873-C460-43A6-8A7F-9F5DC4D43744}" destId="{78E86AF5-BDE7-40A2-BB48-3781EBA8B21E}" srcOrd="1" destOrd="0" parTransId="{DBC56DE7-C1BD-405F-AD7B-42A3DC652B9D}" sibTransId="{185BFB16-8A08-4594-A5EB-21003F37877A}"/>
    <dgm:cxn modelId="{921A790B-CDE1-4CD3-8F6D-E7B37601A299}" type="presOf" srcId="{C21281DC-F931-4E9C-942D-AD3EB61A6EA2}" destId="{F4DCD2E3-C30A-4106-8870-66D02E4ED2D8}" srcOrd="0" destOrd="0" presId="urn:microsoft.com/office/officeart/2008/layout/VerticalCurvedList"/>
    <dgm:cxn modelId="{35A625DA-4303-45E7-84B6-D79922F67BDA}" type="presOf" srcId="{DF51E2A6-ABF0-49DE-8ADB-388659769540}" destId="{C88AC33A-9E7B-48FE-AA69-CF0915BA28B4}" srcOrd="0" destOrd="0" presId="urn:microsoft.com/office/officeart/2008/layout/VerticalCurvedList"/>
    <dgm:cxn modelId="{9AF7A7D6-0A90-4A92-87CF-272632BDF9AE}" type="presParOf" srcId="{3B73ACC1-496C-40F5-B241-D7E8E221BFF7}" destId="{176C12DF-C866-46CE-B755-E0FD9BB684D3}" srcOrd="0" destOrd="0" presId="urn:microsoft.com/office/officeart/2008/layout/VerticalCurvedList"/>
    <dgm:cxn modelId="{330BD9E1-2447-4579-AD10-56B66581CF41}" type="presParOf" srcId="{176C12DF-C866-46CE-B755-E0FD9BB684D3}" destId="{FABF9950-43BA-4F8E-8D7D-4C0B1CA90765}" srcOrd="0" destOrd="0" presId="urn:microsoft.com/office/officeart/2008/layout/VerticalCurvedList"/>
    <dgm:cxn modelId="{CDC7C3A5-9047-4F56-82EA-8C0A389DFE77}" type="presParOf" srcId="{FABF9950-43BA-4F8E-8D7D-4C0B1CA90765}" destId="{A82FF449-D38B-45D7-9B32-0E93451CA53E}" srcOrd="0" destOrd="0" presId="urn:microsoft.com/office/officeart/2008/layout/VerticalCurvedList"/>
    <dgm:cxn modelId="{258D75FA-721F-45AE-AD42-CD6C008F4B78}" type="presParOf" srcId="{FABF9950-43BA-4F8E-8D7D-4C0B1CA90765}" destId="{C88AC33A-9E7B-48FE-AA69-CF0915BA28B4}" srcOrd="1" destOrd="0" presId="urn:microsoft.com/office/officeart/2008/layout/VerticalCurvedList"/>
    <dgm:cxn modelId="{F85FD21F-36F5-462C-907D-7918DE03643D}" type="presParOf" srcId="{FABF9950-43BA-4F8E-8D7D-4C0B1CA90765}" destId="{8CA4C0E1-81F8-4CF3-9F9F-8F74AB1DFFA6}" srcOrd="2" destOrd="0" presId="urn:microsoft.com/office/officeart/2008/layout/VerticalCurvedList"/>
    <dgm:cxn modelId="{41DAD676-0E95-4140-BB3F-AD8BA3368AE6}" type="presParOf" srcId="{FABF9950-43BA-4F8E-8D7D-4C0B1CA90765}" destId="{A169A3DF-3482-4DB4-A369-65C9EACA0A7B}" srcOrd="3" destOrd="0" presId="urn:microsoft.com/office/officeart/2008/layout/VerticalCurvedList"/>
    <dgm:cxn modelId="{B5512A6C-4478-40BC-9A41-F41704C565E2}" type="presParOf" srcId="{176C12DF-C866-46CE-B755-E0FD9BB684D3}" destId="{458817C7-6BEC-45B3-895F-78F93D5B61B1}" srcOrd="1" destOrd="0" presId="urn:microsoft.com/office/officeart/2008/layout/VerticalCurvedList"/>
    <dgm:cxn modelId="{64481725-BF71-4C24-93F6-014B8D782B48}" type="presParOf" srcId="{176C12DF-C866-46CE-B755-E0FD9BB684D3}" destId="{4CF5327E-7ADA-4CC4-AD60-4CEC17A9BD9F}" srcOrd="2" destOrd="0" presId="urn:microsoft.com/office/officeart/2008/layout/VerticalCurvedList"/>
    <dgm:cxn modelId="{A91D3769-1820-465F-B344-D06F51309FD8}" type="presParOf" srcId="{4CF5327E-7ADA-4CC4-AD60-4CEC17A9BD9F}" destId="{C17F0E81-FCDB-4D98-9E05-3DD956F33DB3}" srcOrd="0" destOrd="0" presId="urn:microsoft.com/office/officeart/2008/layout/VerticalCurvedList"/>
    <dgm:cxn modelId="{2E7F30E6-3593-452A-8F18-3FCEA68F2C75}" type="presParOf" srcId="{176C12DF-C866-46CE-B755-E0FD9BB684D3}" destId="{B710CF74-13DC-491D-8AA7-EE713AB0A121}" srcOrd="3" destOrd="0" presId="urn:microsoft.com/office/officeart/2008/layout/VerticalCurvedList"/>
    <dgm:cxn modelId="{415F0671-3C6B-4D05-A060-89DDDF3A9187}" type="presParOf" srcId="{176C12DF-C866-46CE-B755-E0FD9BB684D3}" destId="{597811AA-61D6-4E7B-8D2E-77955D747DB3}" srcOrd="4" destOrd="0" presId="urn:microsoft.com/office/officeart/2008/layout/VerticalCurvedList"/>
    <dgm:cxn modelId="{E5380F0A-0CF2-4A73-9362-1437128C5B88}" type="presParOf" srcId="{597811AA-61D6-4E7B-8D2E-77955D747DB3}" destId="{E359BF74-4EAA-4A84-851E-79427ACA3040}" srcOrd="0" destOrd="0" presId="urn:microsoft.com/office/officeart/2008/layout/VerticalCurvedList"/>
    <dgm:cxn modelId="{3012A35C-152C-4611-B2F7-22A345813772}" type="presParOf" srcId="{176C12DF-C866-46CE-B755-E0FD9BB684D3}" destId="{F4DCD2E3-C30A-4106-8870-66D02E4ED2D8}" srcOrd="5" destOrd="0" presId="urn:microsoft.com/office/officeart/2008/layout/VerticalCurvedList"/>
    <dgm:cxn modelId="{7A1555D2-7271-480A-A4F4-39F6F215A798}" type="presParOf" srcId="{176C12DF-C866-46CE-B755-E0FD9BB684D3}" destId="{03423D67-10DD-493A-B3D4-FAB412D14189}" srcOrd="6" destOrd="0" presId="urn:microsoft.com/office/officeart/2008/layout/VerticalCurvedList"/>
    <dgm:cxn modelId="{42D32410-0E82-4F5D-9086-E2621A627C76}" type="presParOf" srcId="{03423D67-10DD-493A-B3D4-FAB412D14189}" destId="{CCABAEA6-84A7-43B2-AE3E-AA77E44737BE}" srcOrd="0" destOrd="0" presId="urn:microsoft.com/office/officeart/2008/layout/VerticalCurvedList"/>
    <dgm:cxn modelId="{A1DE1E72-48AA-44F4-B1E3-E1DDF56C18F6}" type="presParOf" srcId="{176C12DF-C866-46CE-B755-E0FD9BB684D3}" destId="{C6D19E84-6DD9-43A3-921E-AC3C76D4EF46}" srcOrd="7" destOrd="0" presId="urn:microsoft.com/office/officeart/2008/layout/VerticalCurvedList"/>
    <dgm:cxn modelId="{05B04F9E-3EAB-42B1-BF7A-6826F2C39E1A}" type="presParOf" srcId="{176C12DF-C866-46CE-B755-E0FD9BB684D3}" destId="{C6B2E0BF-57C1-44DB-988E-12F84713BA6A}" srcOrd="8" destOrd="0" presId="urn:microsoft.com/office/officeart/2008/layout/VerticalCurvedList"/>
    <dgm:cxn modelId="{FF16000E-62FD-4B6B-91B3-0D7D99DC0D15}" type="presParOf" srcId="{C6B2E0BF-57C1-44DB-988E-12F84713BA6A}" destId="{D2B54007-1114-44EF-8EEA-3E6760D3169D}" srcOrd="0" destOrd="0" presId="urn:microsoft.com/office/officeart/2008/layout/VerticalCurvedList"/>
    <dgm:cxn modelId="{87D07F9F-B1E0-41B2-BC6E-F7998E8B66C1}" type="presParOf" srcId="{176C12DF-C866-46CE-B755-E0FD9BB684D3}" destId="{537CCD8C-EC29-4A94-81A7-0B4E010ADBB1}" srcOrd="9" destOrd="0" presId="urn:microsoft.com/office/officeart/2008/layout/VerticalCurvedList"/>
    <dgm:cxn modelId="{8BD69210-B34A-4566-9F09-D9ABBCCBCF1F}" type="presParOf" srcId="{176C12DF-C866-46CE-B755-E0FD9BB684D3}" destId="{2775DD63-EA6D-4F28-A237-177AEDBED3BA}" srcOrd="10" destOrd="0" presId="urn:microsoft.com/office/officeart/2008/layout/VerticalCurvedList"/>
    <dgm:cxn modelId="{26BD4F7B-D564-4A9E-ABA1-12E7B38B37A1}" type="presParOf" srcId="{2775DD63-EA6D-4F28-A237-177AEDBED3BA}" destId="{9DACB2D5-EADA-42FB-807E-695C820FD52F}" srcOrd="0" destOrd="0" presId="urn:microsoft.com/office/officeart/2008/layout/VerticalCurvedList"/>
    <dgm:cxn modelId="{580F298A-1188-4F58-B6E8-F85FE90F8892}" type="presParOf" srcId="{176C12DF-C866-46CE-B755-E0FD9BB684D3}" destId="{3CDC6EAF-654A-40F3-B5C2-E5916E974EC3}" srcOrd="11" destOrd="0" presId="urn:microsoft.com/office/officeart/2008/layout/VerticalCurvedList"/>
    <dgm:cxn modelId="{B040F0E0-EC60-48EE-A176-3183B57CDAC2}" type="presParOf" srcId="{176C12DF-C866-46CE-B755-E0FD9BB684D3}" destId="{21C48A64-174B-48FC-BB5E-A8F8A2730864}" srcOrd="12" destOrd="0" presId="urn:microsoft.com/office/officeart/2008/layout/VerticalCurvedList"/>
    <dgm:cxn modelId="{A8CE5B3B-7CBE-470D-A0D3-1DBE4DBD7991}" type="presParOf" srcId="{21C48A64-174B-48FC-BB5E-A8F8A2730864}" destId="{0890763D-4DAB-412B-8174-6F5ADECA768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331" y="168146"/>
          <a:ext cx="2642860" cy="158571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lvl="0" algn="ctr" defTabSz="1822450" rtl="0">
            <a:lnSpc>
              <a:spcPct val="90000"/>
            </a:lnSpc>
            <a:spcBef>
              <a:spcPct val="0"/>
            </a:spcBef>
            <a:spcAft>
              <a:spcPct val="35000"/>
            </a:spcAft>
          </a:pPr>
          <a:r>
            <a:rPr lang="en-US" sz="4100" kern="1200" baseline="0" dirty="0" smtClean="0"/>
            <a:t>Visual Studio</a:t>
          </a:r>
          <a:endParaRPr lang="en-US" sz="4100" kern="1200" dirty="0"/>
        </a:p>
      </dsp:txBody>
      <dsp:txXfrm>
        <a:off x="3331" y="168146"/>
        <a:ext cx="2642860" cy="1585716"/>
      </dsp:txXfrm>
    </dsp:sp>
    <dsp:sp modelId="{BFD6C2D9-8EAF-4814-9068-92EC26CD3430}">
      <dsp:nvSpPr>
        <dsp:cNvPr id="0" name=""/>
        <dsp:cNvSpPr/>
      </dsp:nvSpPr>
      <dsp:spPr>
        <a:xfrm>
          <a:off x="2910477" y="168146"/>
          <a:ext cx="2642860" cy="1585716"/>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lvl="0" algn="ctr" defTabSz="1822450" rtl="0">
            <a:lnSpc>
              <a:spcPct val="90000"/>
            </a:lnSpc>
            <a:spcBef>
              <a:spcPct val="0"/>
            </a:spcBef>
            <a:spcAft>
              <a:spcPct val="35000"/>
            </a:spcAft>
          </a:pPr>
          <a:r>
            <a:rPr lang="en-US" sz="4100" kern="1200" baseline="0" dirty="0" smtClean="0"/>
            <a:t>NuGet</a:t>
          </a:r>
          <a:endParaRPr lang="en-US" sz="4100" kern="1200" dirty="0"/>
        </a:p>
      </dsp:txBody>
      <dsp:txXfrm>
        <a:off x="2910477" y="168146"/>
        <a:ext cx="2642860" cy="1585716"/>
      </dsp:txXfrm>
    </dsp:sp>
    <dsp:sp modelId="{C12961E1-1B5A-4A16-B7D5-F0E2A81007BC}">
      <dsp:nvSpPr>
        <dsp:cNvPr id="0" name=""/>
        <dsp:cNvSpPr/>
      </dsp:nvSpPr>
      <dsp:spPr>
        <a:xfrm>
          <a:off x="5817623" y="168146"/>
          <a:ext cx="2642860" cy="1585716"/>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lvl="0" algn="ctr" defTabSz="1822450" rtl="0">
            <a:lnSpc>
              <a:spcPct val="90000"/>
            </a:lnSpc>
            <a:spcBef>
              <a:spcPct val="0"/>
            </a:spcBef>
            <a:spcAft>
              <a:spcPct val="35000"/>
            </a:spcAft>
          </a:pPr>
          <a:r>
            <a:rPr lang="en-US" sz="4100" kern="1200" dirty="0" smtClean="0"/>
            <a:t>ASP.NET</a:t>
          </a:r>
          <a:endParaRPr lang="en-US" sz="4100" kern="1200" dirty="0"/>
        </a:p>
      </dsp:txBody>
      <dsp:txXfrm>
        <a:off x="5817623" y="168146"/>
        <a:ext cx="2642860" cy="1585716"/>
      </dsp:txXfrm>
    </dsp:sp>
    <dsp:sp modelId="{5222C5B1-7198-4817-8170-EA15671F32D9}">
      <dsp:nvSpPr>
        <dsp:cNvPr id="0" name=""/>
        <dsp:cNvSpPr/>
      </dsp:nvSpPr>
      <dsp:spPr>
        <a:xfrm>
          <a:off x="8724769" y="168146"/>
          <a:ext cx="2642860" cy="1585716"/>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lvl="0" algn="ctr" defTabSz="1822450" rtl="0">
            <a:lnSpc>
              <a:spcPct val="90000"/>
            </a:lnSpc>
            <a:spcBef>
              <a:spcPct val="0"/>
            </a:spcBef>
            <a:spcAft>
              <a:spcPct val="35000"/>
            </a:spcAft>
          </a:pPr>
          <a:r>
            <a:rPr lang="en-US" sz="4100" kern="1200" baseline="0" dirty="0" smtClean="0"/>
            <a:t>Microsoft Azure</a:t>
          </a:r>
          <a:endParaRPr lang="en-US" sz="4100" kern="1200" dirty="0"/>
        </a:p>
      </dsp:txBody>
      <dsp:txXfrm>
        <a:off x="8724769" y="168146"/>
        <a:ext cx="2642860" cy="15857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750768" y="-880216"/>
          <a:ext cx="6846574" cy="6846574"/>
        </a:xfrm>
        <a:prstGeom prst="blockArc">
          <a:avLst>
            <a:gd name="adj1" fmla="val 18900000"/>
            <a:gd name="adj2" fmla="val 2700000"/>
            <a:gd name="adj3" fmla="val 315"/>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08292" y="267836"/>
          <a:ext cx="10891337" cy="535469"/>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502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and Visual Studio 2013 Web Tooling</a:t>
          </a:r>
          <a:endParaRPr lang="en-US" sz="1800" kern="1200" dirty="0"/>
        </a:p>
      </dsp:txBody>
      <dsp:txXfrm>
        <a:off x="408292" y="267836"/>
        <a:ext cx="10891337" cy="535469"/>
      </dsp:txXfrm>
    </dsp:sp>
    <dsp:sp modelId="{C17F0E81-FCDB-4D98-9E05-3DD956F33DB3}">
      <dsp:nvSpPr>
        <dsp:cNvPr id="0" name=""/>
        <dsp:cNvSpPr/>
      </dsp:nvSpPr>
      <dsp:spPr>
        <a:xfrm>
          <a:off x="73624" y="200902"/>
          <a:ext cx="669336" cy="669336"/>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848752" y="1070938"/>
          <a:ext cx="10450877" cy="535469"/>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502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the latest ASP.NET technologies</a:t>
          </a:r>
        </a:p>
      </dsp:txBody>
      <dsp:txXfrm>
        <a:off x="848752" y="1070938"/>
        <a:ext cx="10450877" cy="535469"/>
      </dsp:txXfrm>
    </dsp:sp>
    <dsp:sp modelId="{E359BF74-4EAA-4A84-851E-79427ACA3040}">
      <dsp:nvSpPr>
        <dsp:cNvPr id="0" name=""/>
        <dsp:cNvSpPr/>
      </dsp:nvSpPr>
      <dsp:spPr>
        <a:xfrm>
          <a:off x="514084" y="1004004"/>
          <a:ext cx="669336" cy="669336"/>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50164" y="1874039"/>
          <a:ext cx="10249466" cy="535469"/>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502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p>
      </dsp:txBody>
      <dsp:txXfrm>
        <a:off x="1050164" y="1874039"/>
        <a:ext cx="10249466" cy="535469"/>
      </dsp:txXfrm>
    </dsp:sp>
    <dsp:sp modelId="{CCABAEA6-84A7-43B2-AE3E-AA77E44737BE}">
      <dsp:nvSpPr>
        <dsp:cNvPr id="0" name=""/>
        <dsp:cNvSpPr/>
      </dsp:nvSpPr>
      <dsp:spPr>
        <a:xfrm>
          <a:off x="715495" y="1807106"/>
          <a:ext cx="669336" cy="669336"/>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1050164" y="2676633"/>
          <a:ext cx="10249466" cy="535469"/>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502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p>
      </dsp:txBody>
      <dsp:txXfrm>
        <a:off x="1050164" y="2676633"/>
        <a:ext cx="10249466" cy="535469"/>
      </dsp:txXfrm>
    </dsp:sp>
    <dsp:sp modelId="{D2B54007-1114-44EF-8EEA-3E6760D3169D}">
      <dsp:nvSpPr>
        <dsp:cNvPr id="0" name=""/>
        <dsp:cNvSpPr/>
      </dsp:nvSpPr>
      <dsp:spPr>
        <a:xfrm>
          <a:off x="715495" y="2609699"/>
          <a:ext cx="669336" cy="669336"/>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848752" y="3479734"/>
          <a:ext cx="10450877" cy="535469"/>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502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p>
      </dsp:txBody>
      <dsp:txXfrm>
        <a:off x="848752" y="3479734"/>
        <a:ext cx="10450877" cy="535469"/>
      </dsp:txXfrm>
    </dsp:sp>
    <dsp:sp modelId="{9DACB2D5-EADA-42FB-807E-695C820FD52F}">
      <dsp:nvSpPr>
        <dsp:cNvPr id="0" name=""/>
        <dsp:cNvSpPr/>
      </dsp:nvSpPr>
      <dsp:spPr>
        <a:xfrm>
          <a:off x="514084" y="3412801"/>
          <a:ext cx="669336" cy="669336"/>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C6EAF-654A-40F3-B5C2-E5916E974EC3}">
      <dsp:nvSpPr>
        <dsp:cNvPr id="0" name=""/>
        <dsp:cNvSpPr/>
      </dsp:nvSpPr>
      <dsp:spPr>
        <a:xfrm>
          <a:off x="408292" y="4282836"/>
          <a:ext cx="10891337" cy="535469"/>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502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al-time Communications with SignalR</a:t>
          </a:r>
        </a:p>
      </dsp:txBody>
      <dsp:txXfrm>
        <a:off x="408292" y="4282836"/>
        <a:ext cx="10891337" cy="535469"/>
      </dsp:txXfrm>
    </dsp:sp>
    <dsp:sp modelId="{0890763D-4DAB-412B-8174-6F5ADECA768A}">
      <dsp:nvSpPr>
        <dsp:cNvPr id="0" name=""/>
        <dsp:cNvSpPr/>
      </dsp:nvSpPr>
      <dsp:spPr>
        <a:xfrm>
          <a:off x="73624" y="4215903"/>
          <a:ext cx="669336" cy="669336"/>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2/10/2015 2:4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2/10/2015 2:4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microsoft.com/en-us/download/details.aspx?id=42678"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417278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dular</a:t>
            </a:r>
          </a:p>
          <a:p>
            <a:pPr lvl="1"/>
            <a:r>
              <a:rPr lang="en-US" dirty="0" smtClean="0"/>
              <a:t>Get high productivity with built-in or community contributed middleware and frameworks</a:t>
            </a:r>
          </a:p>
          <a:p>
            <a:pPr lvl="1"/>
            <a:r>
              <a:rPr lang="en-US" dirty="0" smtClean="0"/>
              <a:t>Use a stripped down pipeline for bare metal performance</a:t>
            </a:r>
          </a:p>
          <a:p>
            <a:r>
              <a:rPr lang="en-US" dirty="0" smtClean="0"/>
              <a:t>Fast and lean</a:t>
            </a:r>
          </a:p>
          <a:p>
            <a:pPr lvl="1"/>
            <a:r>
              <a:rPr lang="en-US" dirty="0" smtClean="0"/>
              <a:t>Light weight </a:t>
            </a:r>
            <a:r>
              <a:rPr lang="en-US" dirty="0" err="1" smtClean="0"/>
              <a:t>HttpContext</a:t>
            </a:r>
            <a:endParaRPr lang="en-US" dirty="0" smtClean="0"/>
          </a:p>
          <a:p>
            <a:pPr lvl="1"/>
            <a:r>
              <a:rPr lang="en-US" dirty="0" smtClean="0"/>
              <a:t>Highly optimized IIS integration and </a:t>
            </a:r>
            <a:r>
              <a:rPr lang="en-US" dirty="0" err="1" smtClean="0"/>
              <a:t>WebListener</a:t>
            </a:r>
            <a:r>
              <a:rPr lang="en-US" dirty="0" smtClean="0"/>
              <a:t> for maximum throughput</a:t>
            </a:r>
          </a:p>
          <a:p>
            <a:r>
              <a:rPr lang="en-US" dirty="0" smtClean="0"/>
              <a:t>Flexible hosting</a:t>
            </a:r>
          </a:p>
          <a:p>
            <a:pPr lvl="1"/>
            <a:r>
              <a:rPr lang="en-US" dirty="0" smtClean="0"/>
              <a:t>Run both in IIS and hosted in your own process</a:t>
            </a:r>
          </a:p>
          <a:p>
            <a:r>
              <a:rPr lang="en-US" dirty="0" smtClean="0"/>
              <a:t>Supports OWIN</a:t>
            </a:r>
          </a:p>
          <a:p>
            <a:pPr lvl="1"/>
            <a:r>
              <a:rPr lang="en-US" dirty="0" smtClean="0"/>
              <a:t>But doesn’t force you to code against the raw OWIN abstractions</a:t>
            </a:r>
          </a:p>
          <a:p>
            <a:pPr lvl="1"/>
            <a:r>
              <a:rPr lang="en-US" dirty="0" smtClean="0"/>
              <a:t>Easily migrated Katana middleware to this new model</a:t>
            </a:r>
          </a:p>
          <a:p>
            <a:pPr lvl="1"/>
            <a:endParaRPr lang="en-US" dirty="0" smtClean="0"/>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2383177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w environment based </a:t>
            </a:r>
            <a:r>
              <a:rPr lang="en-US" dirty="0" err="1" smtClean="0"/>
              <a:t>config</a:t>
            </a:r>
            <a:r>
              <a:rPr lang="en-US" dirty="0" smtClean="0"/>
              <a:t> system</a:t>
            </a:r>
          </a:p>
          <a:p>
            <a:pPr lvl="1"/>
            <a:r>
              <a:rPr lang="en-US" dirty="0" smtClean="0"/>
              <a:t>Pick up the appropriate </a:t>
            </a:r>
            <a:r>
              <a:rPr lang="en-US" dirty="0" err="1" smtClean="0"/>
              <a:t>config</a:t>
            </a:r>
            <a:r>
              <a:rPr lang="en-US" dirty="0" smtClean="0"/>
              <a:t> values for the environment you are running (</a:t>
            </a:r>
            <a:r>
              <a:rPr lang="en-US" dirty="0" err="1" smtClean="0"/>
              <a:t>dev</a:t>
            </a:r>
            <a:r>
              <a:rPr lang="en-US" dirty="0" smtClean="0"/>
              <a:t>, staging, prod)</a:t>
            </a:r>
          </a:p>
          <a:p>
            <a:pPr lvl="1"/>
            <a:r>
              <a:rPr lang="en-US" dirty="0" smtClean="0"/>
              <a:t>Read name/value pairs from a variety of sources (JSON, XML, INI, environment variables, </a:t>
            </a:r>
            <a:r>
              <a:rPr lang="en-US" dirty="0" err="1" smtClean="0"/>
              <a:t>etc</a:t>
            </a:r>
            <a:r>
              <a:rPr lang="en-US" dirty="0" smtClean="0"/>
              <a:t>)</a:t>
            </a:r>
          </a:p>
          <a:p>
            <a:pPr lvl="1"/>
            <a:r>
              <a:rPr lang="en-US" dirty="0" smtClean="0"/>
              <a:t>No more complicated </a:t>
            </a:r>
            <a:r>
              <a:rPr lang="en-US" dirty="0" err="1" smtClean="0"/>
              <a:t>web.config</a:t>
            </a:r>
            <a:r>
              <a:rPr lang="en-US" dirty="0" smtClean="0"/>
              <a:t> and </a:t>
            </a:r>
            <a:r>
              <a:rPr lang="en-US" dirty="0" err="1" smtClean="0"/>
              <a:t>config</a:t>
            </a:r>
            <a:r>
              <a:rPr lang="en-US" dirty="0" smtClean="0"/>
              <a:t> transforms</a:t>
            </a:r>
          </a:p>
          <a:p>
            <a:r>
              <a:rPr lang="en-US" dirty="0" smtClean="0"/>
              <a:t>Integrated DI</a:t>
            </a:r>
          </a:p>
          <a:p>
            <a:pPr lvl="1"/>
            <a:r>
              <a:rPr lang="en-US" dirty="0" smtClean="0"/>
              <a:t>Use common DI abstraction in inject services appropriate for the environment</a:t>
            </a:r>
          </a:p>
          <a:p>
            <a:pPr lvl="1"/>
            <a:r>
              <a:rPr lang="en-US" dirty="0" smtClean="0"/>
              <a:t>Replace the built-in container with your favorite </a:t>
            </a:r>
            <a:r>
              <a:rPr lang="en-US" dirty="0" err="1" smtClean="0"/>
              <a:t>IoC</a:t>
            </a:r>
            <a:r>
              <a:rPr lang="en-US" dirty="0" smtClean="0"/>
              <a:t> (</a:t>
            </a:r>
            <a:r>
              <a:rPr lang="en-US" dirty="0" err="1" smtClean="0"/>
              <a:t>Ninject</a:t>
            </a:r>
            <a:r>
              <a:rPr lang="en-US" dirty="0" smtClean="0"/>
              <a:t>, </a:t>
            </a:r>
            <a:r>
              <a:rPr lang="en-US" dirty="0" err="1" smtClean="0"/>
              <a:t>Autofac</a:t>
            </a:r>
            <a:r>
              <a:rPr lang="en-US" dirty="0" smtClean="0"/>
              <a:t>, Unity, </a:t>
            </a:r>
            <a:r>
              <a:rPr lang="en-US" dirty="0" err="1" smtClean="0"/>
              <a:t>StructureMap</a:t>
            </a:r>
            <a:r>
              <a:rPr lang="en-US" dirty="0" smtClean="0"/>
              <a:t>, </a:t>
            </a:r>
            <a:r>
              <a:rPr lang="en-US" dirty="0" err="1" smtClean="0"/>
              <a:t>etc</a:t>
            </a:r>
            <a:r>
              <a:rPr lang="en-US" dirty="0" smtClean="0"/>
              <a:t>)</a:t>
            </a:r>
          </a:p>
          <a:p>
            <a:r>
              <a:rPr lang="en-US" dirty="0" smtClean="0"/>
              <a:t>Reduce COGS</a:t>
            </a:r>
          </a:p>
          <a:p>
            <a:pPr lvl="1"/>
            <a:r>
              <a:rPr lang="en-US" dirty="0" smtClean="0"/>
              <a:t>Run on the Cloud Optimized runtime for higher runtime density and better resource utilization</a:t>
            </a:r>
          </a:p>
          <a:p>
            <a:r>
              <a:rPr lang="en-US" dirty="0" smtClean="0"/>
              <a:t>Integrated tracing and diagnostics</a:t>
            </a:r>
          </a:p>
          <a:p>
            <a:pPr lvl="1"/>
            <a:r>
              <a:rPr lang="en-US" dirty="0" smtClean="0"/>
              <a:t>ETW, App Insights</a:t>
            </a:r>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412540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mier developer experience in Visual Studio 2015</a:t>
            </a:r>
          </a:p>
          <a:p>
            <a:pPr lvl="1"/>
            <a:r>
              <a:rPr lang="en-US" dirty="0" smtClean="0"/>
              <a:t>The agility of a dynamic environment with the power of .NET</a:t>
            </a:r>
          </a:p>
          <a:p>
            <a:pPr lvl="1"/>
            <a:r>
              <a:rPr lang="en-US" dirty="0" smtClean="0"/>
              <a:t>Fully integrated with new runtime artifacts – </a:t>
            </a:r>
            <a:r>
              <a:rPr lang="en-US" dirty="0" err="1" smtClean="0"/>
              <a:t>project.json</a:t>
            </a:r>
            <a:r>
              <a:rPr lang="en-US" dirty="0" smtClean="0"/>
              <a:t>, </a:t>
            </a:r>
            <a:r>
              <a:rPr lang="en-US" dirty="0" err="1" smtClean="0"/>
              <a:t>config.json</a:t>
            </a:r>
            <a:r>
              <a:rPr lang="en-US" dirty="0" smtClean="0"/>
              <a:t>, </a:t>
            </a:r>
            <a:r>
              <a:rPr lang="en-US" dirty="0" err="1" smtClean="0"/>
              <a:t>global.json</a:t>
            </a:r>
            <a:endParaRPr lang="en-US" dirty="0" smtClean="0"/>
          </a:p>
          <a:p>
            <a:pPr lvl="1"/>
            <a:r>
              <a:rPr lang="en-US" dirty="0" smtClean="0"/>
              <a:t>Easily visualize, manage and manipulate dependencies</a:t>
            </a:r>
          </a:p>
          <a:p>
            <a:r>
              <a:rPr lang="en-US" dirty="0" smtClean="0"/>
              <a:t>Cross-platform command-line support</a:t>
            </a:r>
          </a:p>
          <a:p>
            <a:pPr lvl="1"/>
            <a:r>
              <a:rPr lang="en-US" dirty="0" smtClean="0"/>
              <a:t>K Version Manager (</a:t>
            </a:r>
            <a:r>
              <a:rPr lang="en-US" dirty="0" err="1" smtClean="0"/>
              <a:t>kvm</a:t>
            </a:r>
            <a:r>
              <a:rPr lang="en-US" dirty="0" smtClean="0"/>
              <a:t>): Manage runtime versions</a:t>
            </a:r>
          </a:p>
          <a:p>
            <a:pPr lvl="1"/>
            <a:r>
              <a:rPr lang="en-US" dirty="0" smtClean="0"/>
              <a:t>K Package Manager (</a:t>
            </a:r>
            <a:r>
              <a:rPr lang="en-US" dirty="0" err="1" smtClean="0"/>
              <a:t>kpm</a:t>
            </a:r>
            <a:r>
              <a:rPr lang="en-US" dirty="0" smtClean="0"/>
              <a:t>): Create and install </a:t>
            </a:r>
            <a:r>
              <a:rPr lang="en-US" dirty="0" err="1" smtClean="0"/>
              <a:t>NuGet</a:t>
            </a:r>
            <a:r>
              <a:rPr lang="en-US" dirty="0" smtClean="0"/>
              <a:t> packages</a:t>
            </a:r>
          </a:p>
          <a:p>
            <a:pPr lvl="1"/>
            <a:r>
              <a:rPr lang="en-US" dirty="0" smtClean="0"/>
              <a:t>K &lt;</a:t>
            </a:r>
            <a:r>
              <a:rPr lang="en-US" dirty="0" err="1" smtClean="0"/>
              <a:t>cmd</a:t>
            </a:r>
            <a:r>
              <a:rPr lang="en-US" dirty="0" smtClean="0"/>
              <a:t>&gt;: Run apps and commands</a:t>
            </a:r>
          </a:p>
          <a:p>
            <a:pPr lvl="1"/>
            <a:r>
              <a:rPr lang="en-US" dirty="0" smtClean="0"/>
              <a:t>New command-line scaffolding</a:t>
            </a:r>
          </a:p>
          <a:p>
            <a:r>
              <a:rPr lang="en-US" dirty="0" smtClean="0"/>
              <a:t>Leverage online or third party editors</a:t>
            </a:r>
          </a:p>
          <a:p>
            <a:pPr lvl="1"/>
            <a:r>
              <a:rPr lang="en-US" dirty="0" smtClean="0"/>
              <a:t>Deploy as source and edit your app on the server (ex. Visual Studio Online)</a:t>
            </a:r>
          </a:p>
          <a:p>
            <a:pPr lvl="1"/>
            <a:r>
              <a:rPr lang="en-US" dirty="0" smtClean="0"/>
              <a:t>Code in your editor of choice</a:t>
            </a:r>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249346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749346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sual of different features, to be merged in next slide</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354902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WebForms</a:t>
            </a:r>
            <a:r>
              <a:rPr lang="en-US" dirty="0" smtClean="0"/>
              <a:t> are not part</a:t>
            </a:r>
            <a:r>
              <a:rPr lang="en-US" baseline="0" dirty="0" smtClean="0"/>
              <a:t> of MVC 6</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8172851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1883385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step-by-step</a:t>
            </a:r>
            <a:r>
              <a:rPr lang="en-US" baseline="0" dirty="0" smtClean="0"/>
              <a:t> walkthrough:</a:t>
            </a:r>
          </a:p>
          <a:p>
            <a:r>
              <a:rPr lang="en-US" dirty="0" smtClean="0"/>
              <a:t>http://palermo4.com/post/Creating-an-ASPNET-5-Empty-Application.aspx</a:t>
            </a:r>
          </a:p>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00654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78251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731412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4893784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22198263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576151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695457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Talking points </a:t>
            </a:r>
          </a:p>
          <a:p>
            <a:pPr marL="171450" marR="0" indent="-171450" algn="l" defTabSz="932742" rtl="0" eaLnBrk="1" fontAlgn="auto" latinLnBrk="0" hangingPunct="1">
              <a:lnSpc>
                <a:spcPct val="90000"/>
              </a:lnSpc>
              <a:spcBef>
                <a:spcPts val="0"/>
              </a:spcBef>
              <a:spcAft>
                <a:spcPts val="340"/>
              </a:spcAft>
              <a:buClrTx/>
              <a:buSzTx/>
              <a:buFontTx/>
              <a:buChar char="-"/>
              <a:tabLst/>
              <a:defRPr/>
            </a:pPr>
            <a:r>
              <a:rPr lang="en-US" dirty="0" smtClean="0"/>
              <a:t>1.8 Billions of active installs</a:t>
            </a:r>
            <a:r>
              <a:rPr lang="en-US" baseline="0" dirty="0" smtClean="0"/>
              <a:t> of .NET</a:t>
            </a:r>
          </a:p>
          <a:p>
            <a:pPr marL="171450" marR="0" indent="-171450" algn="l" defTabSz="932742" rtl="0" eaLnBrk="1" fontAlgn="auto" latinLnBrk="0" hangingPunct="1">
              <a:lnSpc>
                <a:spcPct val="90000"/>
              </a:lnSpc>
              <a:spcBef>
                <a:spcPts val="0"/>
              </a:spcBef>
              <a:spcAft>
                <a:spcPts val="340"/>
              </a:spcAft>
              <a:buClrTx/>
              <a:buSzTx/>
              <a:buFontTx/>
              <a:buChar char="-"/>
              <a:tabLst/>
              <a:defRPr/>
            </a:pPr>
            <a:r>
              <a:rPr lang="en-US" baseline="0" dirty="0" smtClean="0"/>
              <a:t>.NET is everywhere (from embedded systems up to the cloud)</a:t>
            </a:r>
          </a:p>
          <a:p>
            <a:pPr marL="171450" marR="0" indent="-171450" algn="l" defTabSz="932742" rtl="0" eaLnBrk="1" fontAlgn="auto" latinLnBrk="0" hangingPunct="1">
              <a:lnSpc>
                <a:spcPct val="90000"/>
              </a:lnSpc>
              <a:spcBef>
                <a:spcPts val="0"/>
              </a:spcBef>
              <a:spcAft>
                <a:spcPts val="340"/>
              </a:spcAft>
              <a:buClrTx/>
              <a:buSzTx/>
              <a:buFontTx/>
              <a:buChar char="-"/>
              <a:tabLst/>
              <a:defRPr/>
            </a:pPr>
            <a:r>
              <a:rPr lang="en-US" baseline="0" dirty="0" smtClean="0"/>
              <a:t>6 million of .NET professional developers</a:t>
            </a: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NET has 1.8 Billions of active installs</a:t>
            </a:r>
            <a:r>
              <a:rPr lang="en-US" baseline="0" dirty="0" smtClean="0"/>
              <a:t> of .NET, but that is just the number coming from Windows Update. That’s just computers that are actively using .NET and staying current with the latest patches and updates across all versions. If you add  to that embedded systems and phones, the number grows even more!.</a:t>
            </a: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Not only that, focusing on PROFESSIONAL DEVELOPERS, there are around 6 million .NET Pro devs, that means around 60% of pro developers building business applica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TBD: Add another line with VS 2013 downloads</a:t>
            </a:r>
            <a:r>
              <a:rPr lang="en-US" baseline="0" dirty="0" smtClean="0"/>
              <a:t> or as a talking point…</a:t>
            </a:r>
            <a:endParaRPr lang="en-US" dirty="0" smtClean="0"/>
          </a:p>
          <a:p>
            <a:endParaRPr lang="en-US" dirty="0" smtClean="0"/>
          </a:p>
          <a:p>
            <a:r>
              <a:rPr lang="en-US" dirty="0" err="1" smtClean="0"/>
              <a:t>Aditional</a:t>
            </a:r>
            <a:r>
              <a:rPr lang="en-US" dirty="0" smtClean="0"/>
              <a:t> data:</a:t>
            </a:r>
          </a:p>
          <a:p>
            <a:r>
              <a:rPr lang="en-US" baseline="0" dirty="0" smtClean="0"/>
              <a:t>Xamarin – 8 million C# developers, but that includes non-pro developers, moonlighters, etc.</a:t>
            </a:r>
            <a:endParaRPr lang="en-US" dirty="0" smtClean="0"/>
          </a:p>
          <a:p>
            <a:r>
              <a:rPr lang="en-US" dirty="0" smtClean="0"/>
              <a:t>--</a:t>
            </a:r>
          </a:p>
          <a:p>
            <a:endParaRPr lang="en-US" dirty="0" smtClean="0"/>
          </a:p>
          <a:p>
            <a:r>
              <a:rPr lang="en-US" dirty="0" smtClean="0"/>
              <a:t>Source: Microsoft</a:t>
            </a:r>
            <a:r>
              <a:rPr lang="en-US" baseline="0" dirty="0" smtClean="0"/>
              <a:t> figures for t</a:t>
            </a:r>
            <a:r>
              <a:rPr lang="en-US" dirty="0" smtClean="0"/>
              <a:t>otal world wide Windows Update installs.</a:t>
            </a:r>
          </a:p>
        </p:txBody>
      </p:sp>
      <p:sp>
        <p:nvSpPr>
          <p:cNvPr id="4" name="Header Placeholder 3"/>
          <p:cNvSpPr>
            <a:spLocks noGrp="1"/>
          </p:cNvSpPr>
          <p:nvPr>
            <p:ph type="hdr" sz="quarter" idx="10"/>
          </p:nvPr>
        </p:nvSpPr>
        <p:spPr/>
        <p:txBody>
          <a:bodyPr/>
          <a:lstStyle/>
          <a:p>
            <a:pPr>
              <a:defRPr/>
            </a:pPr>
            <a:r>
              <a:rPr lang="en-US" dirty="0" smtClean="0">
                <a:solidFill>
                  <a:prstClr val="black"/>
                </a:solidFill>
              </a:rPr>
              <a:t>DPE Metro Template</a:t>
            </a:r>
            <a:endParaRPr lang="en-US" dirty="0">
              <a:solidFill>
                <a:prstClr val="black"/>
              </a:solidFill>
            </a:endParaRPr>
          </a:p>
        </p:txBody>
      </p:sp>
      <p:sp>
        <p:nvSpPr>
          <p:cNvPr id="5" name="Date Placeholder 4"/>
          <p:cNvSpPr>
            <a:spLocks noGrp="1"/>
          </p:cNvSpPr>
          <p:nvPr>
            <p:ph type="dt" idx="11"/>
          </p:nvPr>
        </p:nvSpPr>
        <p:spPr/>
        <p:txBody>
          <a:bodyPr/>
          <a:lstStyle/>
          <a:p>
            <a:pPr>
              <a:defRPr/>
            </a:pPr>
            <a:fld id="{AC925600-BCE6-4220-A5CA-2CFC6A5D78A2}" type="datetime1">
              <a:rPr lang="en-US" smtClean="0">
                <a:solidFill>
                  <a:prstClr val="black"/>
                </a:solidFill>
              </a:rPr>
              <a:pPr>
                <a:defRPr/>
              </a:pPr>
              <a:t>2/10/2015</a:t>
            </a:fld>
            <a:endParaRPr lang="en-US" dirty="0">
              <a:solidFill>
                <a:prstClr val="black"/>
              </a:solidFill>
            </a:endParaRPr>
          </a:p>
        </p:txBody>
      </p:sp>
      <p:sp>
        <p:nvSpPr>
          <p:cNvPr id="6" name="Footer Placeholder 5"/>
          <p:cNvSpPr>
            <a:spLocks noGrp="1"/>
          </p:cNvSpPr>
          <p:nvPr>
            <p:ph type="ftr" sz="quarter" idx="12"/>
          </p:nvPr>
        </p:nvSpPr>
        <p:spPr/>
        <p:txBody>
          <a:bodyPr/>
          <a:lstStyle/>
          <a:p>
            <a:pPr>
              <a:defRPr/>
            </a:pPr>
            <a:r>
              <a:rPr lang="en-US" dirty="0" smtClean="0">
                <a:solidFill>
                  <a:prstClr val="black"/>
                </a:solidFill>
              </a:rPr>
              <a:t>© 2012 Microsoft Corporation. All rights reserved. Microsoft, Windows, Windows Vista and other product names are or may be registered trademarks and/or trademarks in the U.S. and/or other countries.</a:t>
            </a:r>
          </a:p>
          <a:p>
            <a:pPr>
              <a:defRPr/>
            </a:pPr>
            <a:r>
              <a:rPr lang="en-US" dirty="0"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prstClr val="black"/>
                </a:solidFill>
              </a:rPr>
            </a:br>
            <a:r>
              <a:rPr lang="en-US" dirty="0" smtClean="0">
                <a:solidFill>
                  <a:prstClr val="black"/>
                </a:solidFill>
              </a:rPr>
              <a:t>MICROSOFT MAKES NO WARRANTIES, EXPRESS, IMPLIED OR STATUTORY, AS TO THE INFORMATION IN THIS PRESENTATION.</a:t>
            </a:r>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86BF4EA1-61BC-AE4C-B411-C699DC7DF964}"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3539238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994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994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8230F7F-681E-4E1F-9050-839243F5E650}" type="datetime1">
              <a:rPr lang="en-US" smtClean="0">
                <a:solidFill>
                  <a:prstClr val="black"/>
                </a:solidFill>
              </a:rPr>
              <a:pPr/>
              <a:t>2/1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300185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Talking points</a:t>
            </a:r>
          </a:p>
          <a:p>
            <a:endParaRPr lang="en-US" dirty="0" smtClean="0"/>
          </a:p>
          <a:p>
            <a:r>
              <a:rPr lang="en-US" dirty="0" smtClean="0"/>
              <a:t>You know that nowadays, “every company is a software</a:t>
            </a:r>
            <a:r>
              <a:rPr lang="en-US" baseline="0" dirty="0" smtClean="0"/>
              <a:t> company”. If your business wants to stay relevant, you need software that can push your core-business to the limits.</a:t>
            </a:r>
          </a:p>
          <a:p>
            <a:r>
              <a:rPr lang="en-US" baseline="0" dirty="0" smtClean="0"/>
              <a:t>In addition to the business applications, the number of web and mobile apps are growing exponentially, so, that’s why the developer role is more important than ever before.</a:t>
            </a:r>
          </a:p>
          <a:p>
            <a:endParaRPr lang="en-US" baseline="0" dirty="0" smtClean="0"/>
          </a:p>
          <a:p>
            <a:r>
              <a:rPr lang="en-US" baseline="0" dirty="0" smtClean="0"/>
              <a:t>But these new trends related to apps and agile development for the business require us to deliver much faster in a much shorter cadence or even in a continuous motion.</a:t>
            </a:r>
          </a:p>
          <a:p>
            <a:endParaRPr lang="en-US" baseline="0" dirty="0" smtClean="0"/>
          </a:p>
          <a:p>
            <a:r>
              <a:rPr lang="en-US" baseline="0" dirty="0" smtClean="0"/>
              <a:t>We also hear from you that you need to develop apps for different platforms but you’d like to have a cross-device development strategy so you can share the development investments between the different device platforms.</a:t>
            </a:r>
          </a:p>
          <a:p>
            <a:endParaRPr lang="en-US" baseline="0" dirty="0" smtClean="0"/>
          </a:p>
          <a:p>
            <a:r>
              <a:rPr lang="en-US" baseline="0" dirty="0" smtClean="0"/>
              <a:t>Finally, you also say, hey!, I know there are new device and cloud trends but I have existing business applications to run and evolve, what is the right way?</a:t>
            </a:r>
          </a:p>
          <a:p>
            <a:endParaRPr lang="en-US" baseline="0" dirty="0" smtClean="0"/>
          </a:p>
          <a:p>
            <a:r>
              <a:rPr lang="en-US" baseline="0" dirty="0" smtClean="0"/>
              <a:t>Because this feedback and many others, we are changing our approach to building .NET… (go to next slide)</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2/1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276931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would be just about Talking points for the “Future of .NET” slide</a:t>
            </a:r>
          </a:p>
          <a:p>
            <a:r>
              <a:rPr lang="en-US" dirty="0" smtClean="0"/>
              <a:t>WHAT – WHY – HOW</a:t>
            </a:r>
          </a:p>
          <a:p>
            <a:endParaRPr lang="en-US" dirty="0" smtClean="0"/>
          </a:p>
          <a:p>
            <a:r>
              <a:rPr lang="en-US" dirty="0" smtClean="0"/>
              <a:t>(*) You</a:t>
            </a:r>
            <a:r>
              <a:rPr lang="en-US" baseline="0" dirty="0" smtClean="0"/>
              <a:t> want </a:t>
            </a:r>
            <a:r>
              <a:rPr lang="en-US" b="1" baseline="0" dirty="0" smtClean="0"/>
              <a:t>.NET innovation </a:t>
            </a:r>
            <a:r>
              <a:rPr lang="en-US" baseline="0" dirty="0" smtClean="0"/>
              <a:t>and Microsoft </a:t>
            </a:r>
            <a:r>
              <a:rPr lang="en-US" b="1" baseline="0" dirty="0" smtClean="0"/>
              <a:t>investment</a:t>
            </a:r>
            <a:r>
              <a:rPr lang="en-US" baseline="0" dirty="0" smtClean="0"/>
              <a:t> on .NET.</a:t>
            </a:r>
          </a:p>
          <a:p>
            <a:r>
              <a:rPr lang="en-US" baseline="0" dirty="0" smtClean="0"/>
              <a:t>We’ve invested on .NET innovation from end-to-end, as I’ll show you in a minute. That innovation will benefit future application development but also your existing applications and your existing development experience.</a:t>
            </a:r>
          </a:p>
          <a:p>
            <a:endParaRPr lang="en-US" baseline="0" dirty="0" smtClean="0"/>
          </a:p>
          <a:p>
            <a:r>
              <a:rPr lang="en-US" dirty="0" smtClean="0"/>
              <a:t>(*) You want </a:t>
            </a:r>
            <a:r>
              <a:rPr lang="en-US" b="1" dirty="0" smtClean="0"/>
              <a:t>flexibility and agile delivery</a:t>
            </a:r>
            <a:r>
              <a:rPr lang="en-US" dirty="0" smtClean="0"/>
              <a:t> so</a:t>
            </a:r>
            <a:r>
              <a:rPr lang="en-US" baseline="0" dirty="0" smtClean="0"/>
              <a:t> your applications can have an agile evolution up to date to the latest versions of frameworks and components. That can be achieved by using </a:t>
            </a:r>
            <a:r>
              <a:rPr lang="en-US" baseline="0" dirty="0" err="1" smtClean="0"/>
              <a:t>NuGet</a:t>
            </a:r>
            <a:r>
              <a:rPr lang="en-US" baseline="0" dirty="0" smtClean="0"/>
              <a:t> packages and Microsoft is betting on </a:t>
            </a:r>
            <a:r>
              <a:rPr lang="en-US" baseline="0" dirty="0" err="1" smtClean="0"/>
              <a:t>NuGet</a:t>
            </a:r>
            <a:r>
              <a:rPr lang="en-US" baseline="0" dirty="0" smtClean="0"/>
              <a:t> as the mainstream channel for most of the .NET libraries. </a:t>
            </a:r>
            <a:r>
              <a:rPr lang="en-US" baseline="0" dirty="0" err="1" smtClean="0"/>
              <a:t>NuGet</a:t>
            </a:r>
            <a:r>
              <a:rPr lang="en-US" baseline="0" dirty="0" smtClean="0"/>
              <a:t> is key for .NET vNext and ASP.NET vNext.</a:t>
            </a:r>
          </a:p>
          <a:p>
            <a:endParaRPr lang="en-US" baseline="0" dirty="0" smtClean="0"/>
          </a:p>
          <a:p>
            <a:r>
              <a:rPr lang="en-US" baseline="0" dirty="0" smtClean="0"/>
              <a:t>(*) You want </a:t>
            </a:r>
            <a:r>
              <a:rPr lang="en-US" b="1" baseline="0" dirty="0" smtClean="0"/>
              <a:t>Openness </a:t>
            </a:r>
            <a:r>
              <a:rPr lang="en-US" baseline="0" dirty="0" smtClean="0"/>
              <a:t>. Microsoft is heading strongly towards OPEN SOURCE because it is key for a vibrant community and evolving ecosystem. This mainstream in .NET will promote community involvement and will provide the ability to influence and contribute to the .NET roadmap.</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1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742026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lides</a:t>
            </a:r>
            <a:r>
              <a:rPr lang="en-US" baseline="0" dirty="0" smtClean="0"/>
              <a:t> that follow address each of the points </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922065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lexible and cross-platform CLR hosting</a:t>
            </a:r>
          </a:p>
          <a:p>
            <a:pPr lvl="1"/>
            <a:r>
              <a:rPr lang="en-US" b="1" dirty="0" smtClean="0"/>
              <a:t>.NET </a:t>
            </a:r>
            <a:r>
              <a:rPr lang="en-US" dirty="0" smtClean="0"/>
              <a:t>- Maximum compatibility</a:t>
            </a:r>
          </a:p>
          <a:p>
            <a:pPr lvl="1"/>
            <a:r>
              <a:rPr lang="en-US" b="1" dirty="0" smtClean="0"/>
              <a:t>Cloud Optimized </a:t>
            </a:r>
            <a:r>
              <a:rPr lang="en-US" dirty="0" smtClean="0"/>
              <a:t>– Be fully self-contained and support true side-by-side versioning!</a:t>
            </a:r>
          </a:p>
          <a:p>
            <a:pPr lvl="1"/>
            <a:r>
              <a:rPr lang="en-US" b="1" dirty="0" smtClean="0"/>
              <a:t>Mono</a:t>
            </a:r>
            <a:r>
              <a:rPr lang="en-US" dirty="0" smtClean="0"/>
              <a:t> – Run on Mac/Linux!</a:t>
            </a:r>
          </a:p>
          <a:p>
            <a:r>
              <a:rPr lang="en-US" dirty="0" smtClean="0"/>
              <a:t>Better dependency management</a:t>
            </a:r>
          </a:p>
          <a:p>
            <a:pPr lvl="1"/>
            <a:r>
              <a:rPr lang="en-US" dirty="0" smtClean="0"/>
              <a:t>Assembly references → </a:t>
            </a:r>
            <a:r>
              <a:rPr lang="en-US" dirty="0" err="1" smtClean="0"/>
              <a:t>NuGet</a:t>
            </a:r>
            <a:r>
              <a:rPr lang="en-US" dirty="0" smtClean="0"/>
              <a:t> package dependencies </a:t>
            </a:r>
          </a:p>
          <a:p>
            <a:pPr lvl="1"/>
            <a:r>
              <a:rPr lang="en-US" dirty="0" smtClean="0"/>
              <a:t>Native support for building and consuming </a:t>
            </a:r>
            <a:r>
              <a:rPr lang="en-US" dirty="0" err="1" smtClean="0"/>
              <a:t>NuGet</a:t>
            </a:r>
            <a:r>
              <a:rPr lang="en-US" dirty="0" smtClean="0"/>
              <a:t> packages and symbol packages</a:t>
            </a:r>
          </a:p>
          <a:p>
            <a:pPr lvl="1"/>
            <a:r>
              <a:rPr lang="en-US" dirty="0" smtClean="0"/>
              <a:t>Reference </a:t>
            </a:r>
            <a:r>
              <a:rPr lang="en-US" dirty="0" err="1" smtClean="0"/>
              <a:t>NuGet</a:t>
            </a:r>
            <a:r>
              <a:rPr lang="en-US" dirty="0" smtClean="0"/>
              <a:t> package directly and leverage </a:t>
            </a:r>
            <a:r>
              <a:rPr lang="en-US" dirty="0" err="1" smtClean="0"/>
              <a:t>NuGet</a:t>
            </a:r>
            <a:r>
              <a:rPr lang="en-US" dirty="0" smtClean="0"/>
              <a:t> semantics for dependency resolution</a:t>
            </a:r>
          </a:p>
          <a:p>
            <a:r>
              <a:rPr lang="en-US" dirty="0" smtClean="0"/>
              <a:t>Integrated runtime compilation with Roslyn</a:t>
            </a:r>
          </a:p>
          <a:p>
            <a:pPr lvl="1"/>
            <a:r>
              <a:rPr lang="en-US" dirty="0" smtClean="0"/>
              <a:t>Build everything up front or deploy source and compile in memory at runtime</a:t>
            </a:r>
          </a:p>
          <a:p>
            <a:pPr lvl="1"/>
            <a:r>
              <a:rPr lang="en-US" dirty="0" smtClean="0"/>
              <a:t>Easily replace binary dependencies with code for debugging or for modification</a:t>
            </a:r>
          </a:p>
          <a:p>
            <a:pPr lvl="1"/>
            <a:r>
              <a:rPr lang="en-US" dirty="0" smtClean="0"/>
              <a:t>Simple JSON format for managing dependencies and compilation settings</a:t>
            </a:r>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9205740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mmed down to just the “Core” (a.k.a. </a:t>
            </a:r>
            <a:r>
              <a:rPr lang="en-US" dirty="0" err="1" smtClean="0"/>
              <a:t>CoreCLR</a:t>
            </a:r>
            <a:r>
              <a:rPr lang="en-US" dirty="0" smtClean="0"/>
              <a:t>)</a:t>
            </a:r>
          </a:p>
          <a:p>
            <a:pPr lvl="1"/>
            <a:r>
              <a:rPr lang="en-US" dirty="0" smtClean="0"/>
              <a:t>No </a:t>
            </a:r>
            <a:r>
              <a:rPr lang="en-US" dirty="0" err="1" smtClean="0"/>
              <a:t>WinForms</a:t>
            </a:r>
            <a:r>
              <a:rPr lang="en-US" dirty="0" smtClean="0"/>
              <a:t>, </a:t>
            </a:r>
            <a:r>
              <a:rPr lang="en-US" dirty="0" err="1" smtClean="0"/>
              <a:t>WebForms</a:t>
            </a:r>
            <a:r>
              <a:rPr lang="en-US" dirty="0" smtClean="0"/>
              <a:t>, WCF, WIF, WF, etc.</a:t>
            </a:r>
          </a:p>
          <a:p>
            <a:r>
              <a:rPr lang="en-US" dirty="0" smtClean="0"/>
              <a:t>Modernized API surface area</a:t>
            </a:r>
          </a:p>
          <a:p>
            <a:pPr lvl="1"/>
            <a:r>
              <a:rPr lang="en-US" dirty="0" smtClean="0"/>
              <a:t>Cleaned up for better factoring</a:t>
            </a:r>
          </a:p>
          <a:p>
            <a:pPr lvl="1"/>
            <a:r>
              <a:rPr lang="en-US" dirty="0" smtClean="0"/>
              <a:t>Continuation of Windows Store .NET API contracts, extended for the server</a:t>
            </a:r>
          </a:p>
          <a:p>
            <a:pPr lvl="1"/>
            <a:r>
              <a:rPr lang="en-US" dirty="0" smtClean="0"/>
              <a:t>Existing binaries will probably need to be updated – use </a:t>
            </a:r>
            <a:r>
              <a:rPr lang="en-US" dirty="0" err="1" smtClean="0">
                <a:hlinkClick r:id="rId3"/>
              </a:rPr>
              <a:t>ApiPort</a:t>
            </a:r>
            <a:r>
              <a:rPr lang="en-US" dirty="0" smtClean="0"/>
              <a:t> tool to find out what’s different</a:t>
            </a:r>
          </a:p>
          <a:p>
            <a:pPr lvl="1"/>
            <a:r>
              <a:rPr lang="en-US" dirty="0" smtClean="0"/>
              <a:t>Still lots of API gaps, but more stuff being added with every </a:t>
            </a:r>
            <a:r>
              <a:rPr lang="en-US" dirty="0" err="1" smtClean="0"/>
              <a:t>NuGet</a:t>
            </a:r>
            <a:r>
              <a:rPr lang="en-US" dirty="0" smtClean="0"/>
              <a:t> release</a:t>
            </a:r>
          </a:p>
          <a:p>
            <a:r>
              <a:rPr lang="en-US" dirty="0" smtClean="0"/>
              <a:t>Factored as </a:t>
            </a:r>
            <a:r>
              <a:rPr lang="en-US" dirty="0" err="1" smtClean="0"/>
              <a:t>NuGet</a:t>
            </a:r>
            <a:r>
              <a:rPr lang="en-US" dirty="0" smtClean="0"/>
              <a:t> packages</a:t>
            </a:r>
          </a:p>
          <a:p>
            <a:pPr lvl="1"/>
            <a:r>
              <a:rPr lang="en-US" dirty="0" smtClean="0"/>
              <a:t>New features ship as new independent packages on </a:t>
            </a:r>
            <a:r>
              <a:rPr lang="en-US" dirty="0" err="1" smtClean="0"/>
              <a:t>NuGet</a:t>
            </a:r>
            <a:endParaRPr lang="en-US" dirty="0" smtClean="0"/>
          </a:p>
          <a:p>
            <a:r>
              <a:rPr lang="en-US" dirty="0" smtClean="0"/>
              <a:t>Better versioning for simplified deployment</a:t>
            </a:r>
          </a:p>
          <a:p>
            <a:pPr lvl="1"/>
            <a:r>
              <a:rPr lang="en-US" dirty="0" smtClean="0"/>
              <a:t>Bin deploy the pieces of the .NET framework you need with your app – including the CLR!</a:t>
            </a:r>
          </a:p>
          <a:p>
            <a:pPr lvl="1"/>
            <a:r>
              <a:rPr lang="en-US" dirty="0" smtClean="0"/>
              <a:t>Completely self-contained apps that support true side-by-side versioning</a:t>
            </a:r>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10/2015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3235895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5.xml"/><Relationship Id="rId4" Type="http://schemas.openxmlformats.org/officeDocument/2006/relationships/image" Target="../media/image30.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w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xml"/><Relationship Id="rId5" Type="http://schemas.openxmlformats.org/officeDocument/2006/relationships/image" Target="../media/image22.emf"/><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83249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dirty="0" smtClean="0"/>
              <a:t>Click to edit Master text styles</a:t>
            </a:r>
          </a:p>
          <a:p>
            <a:pPr marL="0" marR="0" lvl="1" indent="0" algn="l" defTabSz="914166"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smtClean="0"/>
              <a:t>Second level</a:t>
            </a:r>
          </a:p>
          <a:p>
            <a:pPr marL="457082" lvl="2" indent="-228541" algn="l" defTabSz="914166" rtl="0" eaLnBrk="1" latinLnBrk="0" hangingPunct="1">
              <a:spcBef>
                <a:spcPct val="20000"/>
              </a:spcBef>
              <a:spcAft>
                <a:spcPts val="816"/>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43556478"/>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953997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809785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3146430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ssion Title Slide">
    <p:spTree>
      <p:nvGrpSpPr>
        <p:cNvPr id="1" name=""/>
        <p:cNvGrpSpPr/>
        <p:nvPr/>
      </p:nvGrpSpPr>
      <p:grpSpPr>
        <a:xfrm>
          <a:off x="0" y="0"/>
          <a:ext cx="0" cy="0"/>
          <a:chOff x="0" y="0"/>
          <a:chExt cx="0" cy="0"/>
        </a:xfrm>
      </p:grpSpPr>
      <p:sp>
        <p:nvSpPr>
          <p:cNvPr id="28" name="Rectangle 27"/>
          <p:cNvSpPr/>
          <p:nvPr userDrawn="1"/>
        </p:nvSpPr>
        <p:spPr bwMode="auto">
          <a:xfrm>
            <a:off x="-66" y="3943350"/>
            <a:ext cx="6687522"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userDrawn="1"/>
        </p:nvSpPr>
        <p:spPr bwMode="auto">
          <a:xfrm>
            <a:off x="6687458" y="3943350"/>
            <a:ext cx="3279251" cy="182880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userDrawn="1"/>
        </p:nvSpPr>
        <p:spPr bwMode="ltGray">
          <a:xfrm>
            <a:off x="-66" y="2125663"/>
            <a:ext cx="9966775"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Title 1"/>
          <p:cNvSpPr>
            <a:spLocks noGrp="1"/>
          </p:cNvSpPr>
          <p:nvPr>
            <p:ph type="title" hasCustomPrompt="1"/>
          </p:nvPr>
        </p:nvSpPr>
        <p:spPr>
          <a:xfrm>
            <a:off x="359999" y="2125678"/>
            <a:ext cx="9606709" cy="1828786"/>
          </a:xfrm>
          <a:noFill/>
        </p:spPr>
        <p:txBody>
          <a:bodyPr lIns="180000" tIns="180000" rIns="180000" bIns="180000" anchor="b" anchorCtr="0"/>
          <a:lstStyle>
            <a:lvl1pPr>
              <a:defRPr sz="3500" spc="-100" baseline="0">
                <a:gradFill>
                  <a:gsLst>
                    <a:gs pos="5833">
                      <a:srgbClr val="FFFFFF"/>
                    </a:gs>
                    <a:gs pos="18000">
                      <a:srgbClr val="FFFFFF"/>
                    </a:gs>
                  </a:gsLst>
                  <a:lin ang="5400000" scaled="0"/>
                </a:gradFill>
              </a:defRPr>
            </a:lvl1pPr>
          </a:lstStyle>
          <a:p>
            <a:r>
              <a:rPr lang="en-US" dirty="0" smtClean="0"/>
              <a:t>Session Title</a:t>
            </a:r>
            <a:endParaRPr lang="en-US" dirty="0"/>
          </a:p>
        </p:txBody>
      </p:sp>
      <p:sp>
        <p:nvSpPr>
          <p:cNvPr id="32" name="Text Placeholder 4"/>
          <p:cNvSpPr>
            <a:spLocks noGrp="1"/>
          </p:cNvSpPr>
          <p:nvPr>
            <p:ph type="body" sz="quarter" idx="12" hasCustomPrompt="1"/>
          </p:nvPr>
        </p:nvSpPr>
        <p:spPr>
          <a:xfrm>
            <a:off x="360001" y="3955786"/>
            <a:ext cx="6327456" cy="1828007"/>
          </a:xfrm>
          <a:noFill/>
        </p:spPr>
        <p:txBody>
          <a:bodyPr lIns="180000" tIns="180000" rIns="180000" bIns="180000">
            <a:noAutofit/>
          </a:bodyPr>
          <a:lstStyle>
            <a:lvl1pPr marL="0" indent="0">
              <a:spcBef>
                <a:spcPts val="0"/>
              </a:spcBef>
              <a:buNone/>
              <a:defRPr sz="35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120" name="Picture 1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1515" y="339989"/>
            <a:ext cx="2574853" cy="1287427"/>
          </a:xfrm>
          <a:prstGeom prst="rect">
            <a:avLst/>
          </a:prstGeom>
        </p:spPr>
      </p:pic>
      <p:sp>
        <p:nvSpPr>
          <p:cNvPr id="121" name="Text Placeholder 4"/>
          <p:cNvSpPr>
            <a:spLocks noGrp="1"/>
          </p:cNvSpPr>
          <p:nvPr>
            <p:ph type="body" sz="quarter" idx="14" hasCustomPrompt="1"/>
          </p:nvPr>
        </p:nvSpPr>
        <p:spPr>
          <a:xfrm>
            <a:off x="6687457" y="3955786"/>
            <a:ext cx="3279251" cy="1828007"/>
          </a:xfrm>
          <a:noFill/>
        </p:spPr>
        <p:txBody>
          <a:bodyPr lIns="180000" tIns="180000" rIns="180000" bIns="180000">
            <a:noAutofit/>
          </a:bodyPr>
          <a:lstStyle>
            <a:lvl1pPr marL="0" indent="0">
              <a:spcBef>
                <a:spcPts val="0"/>
              </a:spcBef>
              <a:buNone/>
              <a:defRPr sz="3500" spc="0" baseline="0">
                <a:solidFill>
                  <a:schemeClr val="tx1"/>
                </a:solidFill>
                <a:latin typeface="+mj-lt"/>
              </a:defRPr>
            </a:lvl1pPr>
          </a:lstStyle>
          <a:p>
            <a:pPr lvl="0"/>
            <a:r>
              <a:rPr lang="en-US" dirty="0" smtClean="0"/>
              <a:t>ABC101</a:t>
            </a:r>
          </a:p>
        </p:txBody>
      </p:sp>
      <p:pic>
        <p:nvPicPr>
          <p:cNvPr id="35" name="Picture 3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97514" y="6236900"/>
            <a:ext cx="1552931" cy="332660"/>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908638" y="2821767"/>
            <a:ext cx="2766239" cy="2950655"/>
          </a:xfrm>
          <a:prstGeom prst="rect">
            <a:avLst/>
          </a:prstGeom>
        </p:spPr>
      </p:pic>
      <p:sp>
        <p:nvSpPr>
          <p:cNvPr id="15" name="Rectangle 14"/>
          <p:cNvSpPr/>
          <p:nvPr userDrawn="1"/>
        </p:nvSpPr>
        <p:spPr bwMode="auto">
          <a:xfrm>
            <a:off x="10185200" y="4307143"/>
            <a:ext cx="1032095" cy="156855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Optional Demo Titl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a:t>
            </a:r>
            <a:endParaRPr lang="en-US" dirty="0"/>
          </a:p>
        </p:txBody>
      </p:sp>
      <p:sp>
        <p:nvSpPr>
          <p:cNvPr id="3"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Optional Video Title</a:t>
            </a:r>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485214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dirty="0"/>
          </a:p>
        </p:txBody>
      </p:sp>
    </p:spTree>
    <p:extLst>
      <p:ext uri="{BB962C8B-B14F-4D97-AF65-F5344CB8AC3E}">
        <p14:creationId xmlns:p14="http://schemas.microsoft.com/office/powerpoint/2010/main" val="4282549171"/>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404893413"/>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0239127"/>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10903613"/>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103271469"/>
              </p:ext>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gridCol w="2819531"/>
                <a:gridCol w="2819531"/>
                <a:gridCol w="2819531"/>
              </a:tblGrid>
              <a:tr h="657264">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49712">
                <a:tc>
                  <a:txBody>
                    <a:bodyPr/>
                    <a:lstStyle/>
                    <a:p>
                      <a:r>
                        <a:rPr lang="en-US" sz="1600" dirty="0" smtClean="0">
                          <a:solidFill>
                            <a:srgbClr val="3C454F"/>
                          </a:solidFill>
                        </a:rPr>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16032596"/>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95551448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169533528"/>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0632193"/>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19944344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681310" y="4652932"/>
            <a:ext cx="3288506" cy="704445"/>
          </a:xfrm>
          <a:prstGeom prst="rect">
            <a:avLst/>
          </a:prstGeom>
        </p:spPr>
      </p:pic>
    </p:spTree>
    <p:extLst>
      <p:ext uri="{BB962C8B-B14F-4D97-AF65-F5344CB8AC3E}">
        <p14:creationId xmlns:p14="http://schemas.microsoft.com/office/powerpoint/2010/main" val="52977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7"/>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5"/>
          <p:cNvSpPr>
            <a:spLocks noGrp="1"/>
          </p:cNvSpPr>
          <p:nvPr>
            <p:ph sz="quarter" idx="4"/>
          </p:nvPr>
        </p:nvSpPr>
        <p:spPr>
          <a:xfrm>
            <a:off x="6401584" y="1398907"/>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937589"/>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3" y="1212853"/>
            <a:ext cx="5486399" cy="2640126"/>
          </a:xfrm>
        </p:spPr>
        <p:txBody>
          <a:bodyPr wrap="square">
            <a:spAutoFit/>
          </a:bodyPr>
          <a:lstStyle>
            <a:lvl1pPr marL="287199" indent="-287199">
              <a:spcBef>
                <a:spcPts val="1224"/>
              </a:spcBef>
              <a:buClr>
                <a:schemeClr val="tx1"/>
              </a:buClr>
              <a:buFont typeface="Arial" pitchFamily="34" charset="0"/>
              <a:buChar char="•"/>
              <a:defRPr sz="3599">
                <a:solidFill>
                  <a:srgbClr val="68217A"/>
                </a:solidFill>
              </a:defRPr>
            </a:lvl1pPr>
            <a:lvl2pPr marL="530908" indent="-233082">
              <a:defRPr sz="2400"/>
            </a:lvl2pPr>
            <a:lvl3pPr marL="699245" indent="-168338">
              <a:tabLst/>
              <a:defRPr sz="2000"/>
            </a:lvl3pPr>
            <a:lvl4pPr marL="880530" indent="-181286">
              <a:defRPr/>
            </a:lvl4pPr>
            <a:lvl5pPr marL="1048866" indent="-1683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53"/>
            <a:ext cx="5486399" cy="2640126"/>
          </a:xfrm>
        </p:spPr>
        <p:txBody>
          <a:bodyPr wrap="square">
            <a:spAutoFit/>
          </a:bodyPr>
          <a:lstStyle>
            <a:lvl1pPr marL="287199" indent="-287199">
              <a:spcBef>
                <a:spcPts val="1224"/>
              </a:spcBef>
              <a:buClr>
                <a:schemeClr val="tx1"/>
              </a:buClr>
              <a:buFont typeface="Arial" pitchFamily="34" charset="0"/>
              <a:buChar char="•"/>
              <a:defRPr sz="3599">
                <a:solidFill>
                  <a:srgbClr val="68217A"/>
                </a:solidFill>
              </a:defRPr>
            </a:lvl1pPr>
            <a:lvl2pPr marL="530908" indent="-233082">
              <a:defRPr sz="2400"/>
            </a:lvl2pPr>
            <a:lvl3pPr marL="699245" indent="-168338">
              <a:tabLst/>
              <a:defRPr sz="2000"/>
            </a:lvl3pPr>
            <a:lvl4pPr marL="880530" indent="-181286">
              <a:defRPr/>
            </a:lvl4pPr>
            <a:lvl5pPr marL="1048866" indent="-1683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696846"/>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021687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011164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76633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3534215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dirty="0"/>
          </a:p>
        </p:txBody>
      </p:sp>
    </p:spTree>
    <p:extLst>
      <p:ext uri="{BB962C8B-B14F-4D97-AF65-F5344CB8AC3E}">
        <p14:creationId xmlns:p14="http://schemas.microsoft.com/office/powerpoint/2010/main" val="420719310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7783441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89601880"/>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80196818"/>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871998323"/>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1228742216"/>
              </p:ext>
            </p:extLst>
          </p:nvPr>
        </p:nvGraphicFramePr>
        <p:xfrm>
          <a:off x="595915" y="1505991"/>
          <a:ext cx="11278124" cy="4406400"/>
        </p:xfrm>
        <a:graphic>
          <a:graphicData uri="http://schemas.openxmlformats.org/drawingml/2006/table">
            <a:tbl>
              <a:tblPr firstRow="1" bandRow="1">
                <a:tableStyleId>{93296810-A885-4BE3-A3E7-6D5BEEA58F35}</a:tableStyleId>
              </a:tblPr>
              <a:tblGrid>
                <a:gridCol w="2819531"/>
                <a:gridCol w="2819531"/>
                <a:gridCol w="2819531"/>
                <a:gridCol w="2819531"/>
              </a:tblGrid>
              <a:tr h="657264">
                <a:tc>
                  <a:txBody>
                    <a:bodyPr/>
                    <a:lstStyle/>
                    <a:p>
                      <a:r>
                        <a:rPr lang="en-US" sz="2000" dirty="0" smtClean="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49712">
                <a:tc>
                  <a:txBody>
                    <a:bodyPr/>
                    <a:lstStyle/>
                    <a:p>
                      <a:r>
                        <a:rPr lang="en-US" sz="1600" dirty="0" smtClean="0"/>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232876979"/>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437122988"/>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0535"/>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489380193"/>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dirty="0"/>
          </a:p>
        </p:txBody>
      </p:sp>
    </p:spTree>
    <p:extLst>
      <p:ext uri="{BB962C8B-B14F-4D97-AF65-F5344CB8AC3E}">
        <p14:creationId xmlns:p14="http://schemas.microsoft.com/office/powerpoint/2010/main" val="3462573197"/>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33922919"/>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10465223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621221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33533388"/>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505878653"/>
              </p:ext>
            </p:extLst>
          </p:nvPr>
        </p:nvGraphicFramePr>
        <p:xfrm>
          <a:off x="595915" y="1505991"/>
          <a:ext cx="11278124" cy="4406400"/>
        </p:xfrm>
        <a:graphic>
          <a:graphicData uri="http://schemas.openxmlformats.org/drawingml/2006/table">
            <a:tbl>
              <a:tblPr firstRow="1" bandRow="1">
                <a:tableStyleId>{21E4AEA4-8DFA-4A89-87EB-49C32662AFE0}</a:tableStyleId>
              </a:tblPr>
              <a:tblGrid>
                <a:gridCol w="2819531"/>
                <a:gridCol w="2819531"/>
                <a:gridCol w="2819531"/>
                <a:gridCol w="2819531"/>
              </a:tblGrid>
              <a:tr h="657264">
                <a:tc>
                  <a:txBody>
                    <a:bodyPr/>
                    <a:lstStyle/>
                    <a:p>
                      <a:r>
                        <a:rPr lang="en-US" sz="2000" dirty="0" smtClean="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49712">
                <a:tc>
                  <a:txBody>
                    <a:bodyPr/>
                    <a:lstStyle/>
                    <a:p>
                      <a:r>
                        <a:rPr lang="en-US" sz="1600" dirty="0" smtClean="0"/>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73689978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04815063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3425913"/>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286623993"/>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dirty="0"/>
          </a:p>
        </p:txBody>
      </p:sp>
    </p:spTree>
    <p:extLst>
      <p:ext uri="{BB962C8B-B14F-4D97-AF65-F5344CB8AC3E}">
        <p14:creationId xmlns:p14="http://schemas.microsoft.com/office/powerpoint/2010/main" val="2432461667"/>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21143071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584850213"/>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399940375"/>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gridCol w="2819531"/>
                <a:gridCol w="2819531"/>
                <a:gridCol w="2819531"/>
              </a:tblGrid>
              <a:tr h="657264">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49712">
                <a:tc>
                  <a:txBody>
                    <a:bodyPr/>
                    <a:lstStyle/>
                    <a:p>
                      <a:r>
                        <a:rPr lang="en-US" sz="1600" dirty="0" smtClean="0">
                          <a:solidFill>
                            <a:srgbClr val="3C454F"/>
                          </a:solidFill>
                        </a:rPr>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41085800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359304" y="839175"/>
            <a:ext cx="9717866" cy="5316173"/>
          </a:xfrm>
          <a:prstGeom prst="rect">
            <a:avLst/>
          </a:prstGeom>
        </p:spPr>
      </p:pic>
    </p:spTree>
    <p:extLst>
      <p:ext uri="{BB962C8B-B14F-4D97-AF65-F5344CB8AC3E}">
        <p14:creationId xmlns:p14="http://schemas.microsoft.com/office/powerpoint/2010/main" val="2443838645"/>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61775091"/>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091431"/>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3525819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dirty="0"/>
          </a:p>
        </p:txBody>
      </p:sp>
    </p:spTree>
    <p:extLst>
      <p:ext uri="{BB962C8B-B14F-4D97-AF65-F5344CB8AC3E}">
        <p14:creationId xmlns:p14="http://schemas.microsoft.com/office/powerpoint/2010/main" val="1191417737"/>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173456647"/>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72372901"/>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6048488"/>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gridCol w="2819531"/>
                <a:gridCol w="2819531"/>
                <a:gridCol w="2819531"/>
              </a:tblGrid>
              <a:tr h="657264">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49712">
                <a:tc>
                  <a:txBody>
                    <a:bodyPr/>
                    <a:lstStyle/>
                    <a:p>
                      <a:r>
                        <a:rPr lang="en-US" sz="1600" dirty="0" smtClean="0">
                          <a:solidFill>
                            <a:srgbClr val="3C454F"/>
                          </a:solidFill>
                        </a:rPr>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167823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1827922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0476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2" y="487263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3035344"/>
            <a:ext cx="7315200" cy="1837298"/>
          </a:xfr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7" y="6507950"/>
            <a:ext cx="1005841" cy="195077"/>
          </a:xfrm>
          <a:prstGeom prst="rect">
            <a:avLst/>
          </a:prstGeom>
          <a:noFill/>
        </p:spPr>
      </p:pic>
      <p:pic>
        <p:nvPicPr>
          <p:cNvPr id="8" name="Picture 7" descr="VS_Wht_rgb.wm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7580" y="2125663"/>
            <a:ext cx="2743550" cy="484156"/>
          </a:xfrm>
          <a:prstGeom prst="rect">
            <a:avLst/>
          </a:prstGeom>
        </p:spPr>
      </p:pic>
    </p:spTree>
    <p:extLst>
      <p:ext uri="{BB962C8B-B14F-4D97-AF65-F5344CB8AC3E}">
        <p14:creationId xmlns:p14="http://schemas.microsoft.com/office/powerpoint/2010/main" val="272325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903051567"/>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dirty="0"/>
          </a:p>
        </p:txBody>
      </p:sp>
    </p:spTree>
    <p:extLst>
      <p:ext uri="{BB962C8B-B14F-4D97-AF65-F5344CB8AC3E}">
        <p14:creationId xmlns:p14="http://schemas.microsoft.com/office/powerpoint/2010/main" val="1458594997"/>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33359550"/>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42949045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99377889"/>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412351195"/>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972537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62014045"/>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1616055600"/>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76269274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1" cy="6994525"/>
          </a:xfrm>
          <a:prstGeom prst="rect">
            <a:avLst/>
          </a:prstGeom>
        </p:spPr>
      </p:pic>
      <p:sp>
        <p:nvSpPr>
          <p:cNvPr id="5" name="Text Placeholder 4"/>
          <p:cNvSpPr>
            <a:spLocks noGrp="1"/>
          </p:cNvSpPr>
          <p:nvPr>
            <p:ph type="body" sz="quarter" idx="12" hasCustomPrompt="1"/>
          </p:nvPr>
        </p:nvSpPr>
        <p:spPr>
          <a:xfrm>
            <a:off x="276542" y="487263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3035344"/>
            <a:ext cx="7315200" cy="1837298"/>
          </a:xfr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580" y="2125663"/>
            <a:ext cx="2743550" cy="484156"/>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7" y="6507950"/>
            <a:ext cx="1005841" cy="195077"/>
          </a:xfrm>
          <a:prstGeom prst="rect">
            <a:avLst/>
          </a:prstGeom>
          <a:noFill/>
        </p:spPr>
      </p:pic>
    </p:spTree>
    <p:extLst>
      <p:ext uri="{BB962C8B-B14F-4D97-AF65-F5344CB8AC3E}">
        <p14:creationId xmlns:p14="http://schemas.microsoft.com/office/powerpoint/2010/main" val="1429555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848695308"/>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3227028766"/>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gridCol w="2819531"/>
                <a:gridCol w="2819531"/>
                <a:gridCol w="2819531"/>
              </a:tblGrid>
              <a:tr h="657264">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49712">
                <a:tc>
                  <a:txBody>
                    <a:bodyPr/>
                    <a:lstStyle/>
                    <a:p>
                      <a:r>
                        <a:rPr lang="en-US" sz="1600" dirty="0" smtClean="0">
                          <a:solidFill>
                            <a:srgbClr val="3C454F"/>
                          </a:solidFill>
                        </a:rPr>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316755891"/>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3597712981"/>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8534075"/>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3345495063"/>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177284868"/>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417409740"/>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338845151"/>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2637160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1" cy="6994524"/>
          </a:xfrm>
          <a:prstGeom prst="rect">
            <a:avLst/>
          </a:prstGeom>
        </p:spPr>
      </p:pic>
      <p:pic>
        <p:nvPicPr>
          <p:cNvPr id="7" name="Picture 6" descr="VS_Purp526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907" y="1924372"/>
            <a:ext cx="3217432" cy="901047"/>
          </a:xfrm>
          <a:prstGeom prst="rect">
            <a:avLst/>
          </a:prstGeom>
        </p:spPr>
      </p:pic>
      <p:pic>
        <p:nvPicPr>
          <p:cNvPr id="10" name="Picture 9" descr="MSFT_logo_rgb_C-Gray.png"/>
          <p:cNvPicPr>
            <a:picLocks noChangeAspect="1"/>
          </p:cNvPicPr>
          <p:nvPr userDrawn="1"/>
        </p:nvPicPr>
        <p:blipFill rotWithShape="1">
          <a:blip r:embed="rId4">
            <a:extLst>
              <a:ext uri="{28A0092B-C50C-407E-A947-70E740481C1C}">
                <a14:useLocalDpi xmlns:a14="http://schemas.microsoft.com/office/drawing/2010/main" val="0"/>
              </a:ext>
            </a:extLst>
          </a:blip>
          <a:srcRect l="30316" t="23386" b="23386"/>
          <a:stretch/>
        </p:blipFill>
        <p:spPr>
          <a:xfrm>
            <a:off x="10126763" y="6434577"/>
            <a:ext cx="1254513" cy="352486"/>
          </a:xfrm>
          <a:prstGeom prst="rect">
            <a:avLst/>
          </a:prstGeom>
        </p:spPr>
      </p:pic>
      <p:sp>
        <p:nvSpPr>
          <p:cNvPr id="5" name="Text Placeholder 4"/>
          <p:cNvSpPr>
            <a:spLocks noGrp="1"/>
          </p:cNvSpPr>
          <p:nvPr>
            <p:ph type="body" sz="quarter" idx="12" hasCustomPrompt="1"/>
          </p:nvPr>
        </p:nvSpPr>
        <p:spPr>
          <a:xfrm>
            <a:off x="276542" y="5600698"/>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3763403"/>
            <a:ext cx="7315200" cy="1837298"/>
          </a:xfrm>
          <a:noFill/>
        </p:spPr>
        <p:txBody>
          <a:bodyPr lIns="146260" tIns="91413" rIns="146260" bIns="91413" anchor="t" anchorCtr="0"/>
          <a:lstStyle>
            <a:lvl1pPr>
              <a:defRPr sz="5000" spc="-100"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2567374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gridCol w="2819531"/>
                <a:gridCol w="2819531"/>
                <a:gridCol w="2819531"/>
              </a:tblGrid>
              <a:tr h="657264">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49712">
                <a:tc>
                  <a:txBody>
                    <a:bodyPr/>
                    <a:lstStyle/>
                    <a:p>
                      <a:r>
                        <a:rPr lang="en-US" sz="1600" dirty="0" smtClean="0">
                          <a:solidFill>
                            <a:srgbClr val="3C454F"/>
                          </a:solidFill>
                        </a:rPr>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9693694"/>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770156095"/>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3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418388710"/>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a:t>
            </a:r>
            <a:r>
              <a:rPr lang="en-US" sz="700" dirty="0" smtClean="0">
                <a:gradFill>
                  <a:gsLst>
                    <a:gs pos="0">
                      <a:srgbClr val="FFFFFF"/>
                    </a:gs>
                    <a:gs pos="100000">
                      <a:srgbClr val="FFFFFF"/>
                    </a:gs>
                  </a:gsLst>
                  <a:lin ang="5400000" scaled="0"/>
                </a:gradFill>
                <a:cs typeface="Segoe UI" pitchFamily="34" charset="0"/>
              </a:rPr>
              <a:t>Microsoft, Microsoft </a:t>
            </a:r>
            <a:r>
              <a:rPr lang="en-US" sz="700"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81310" y="4652932"/>
            <a:ext cx="3288506" cy="704445"/>
          </a:xfrm>
          <a:prstGeom prst="rect">
            <a:avLst/>
          </a:prstGeom>
        </p:spPr>
      </p:pic>
    </p:spTree>
    <p:extLst>
      <p:ext uri="{BB962C8B-B14F-4D97-AF65-F5344CB8AC3E}">
        <p14:creationId xmlns:p14="http://schemas.microsoft.com/office/powerpoint/2010/main" val="273529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965254"/>
          </a:xfrm>
          <a:prstGeom prst="rect">
            <a:avLst/>
          </a:prstGeo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76132439"/>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965254"/>
          </a:xfrm>
          <a:prstGeom prst="rect">
            <a:avLst/>
          </a:prstGeo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52902542"/>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965254"/>
          </a:xfrm>
          <a:prstGeom prst="rect">
            <a:avLst/>
          </a:prstGeo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71918740"/>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965254"/>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2613897"/>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965254"/>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7244514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0" cy="6994524"/>
          </a:xfrm>
          <a:prstGeom prst="rect">
            <a:avLst/>
          </a:prstGeom>
        </p:spPr>
      </p:pic>
      <p:pic>
        <p:nvPicPr>
          <p:cNvPr id="7" name="Picture 6" descr="VS_Purp526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907" y="1924372"/>
            <a:ext cx="3217432" cy="901047"/>
          </a:xfrm>
          <a:prstGeom prst="rect">
            <a:avLst/>
          </a:prstGeom>
        </p:spPr>
      </p:pic>
      <p:sp>
        <p:nvSpPr>
          <p:cNvPr id="5" name="Text Placeholder 4"/>
          <p:cNvSpPr>
            <a:spLocks noGrp="1"/>
          </p:cNvSpPr>
          <p:nvPr>
            <p:ph type="body" sz="quarter" idx="12" hasCustomPrompt="1"/>
          </p:nvPr>
        </p:nvSpPr>
        <p:spPr>
          <a:xfrm>
            <a:off x="276542" y="5600698"/>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3763403"/>
            <a:ext cx="7315200" cy="1837298"/>
          </a:xfrm>
          <a:noFill/>
        </p:spPr>
        <p:txBody>
          <a:bodyPr lIns="146260" tIns="91413" rIns="146260" bIns="91413" anchor="t" anchorCtr="0"/>
          <a:lstStyle>
            <a:lvl1pPr>
              <a:defRPr sz="5000" spc="-100"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a:extLst>
              <a:ext uri="{28A0092B-C50C-407E-A947-70E740481C1C}">
                <a14:useLocalDpi xmlns:a14="http://schemas.microsoft.com/office/drawing/2010/main" val="0"/>
              </a:ext>
            </a:extLst>
          </a:blip>
          <a:srcRect l="30316" t="23386" b="23386"/>
          <a:stretch/>
        </p:blipFill>
        <p:spPr>
          <a:xfrm>
            <a:off x="10126763" y="6434577"/>
            <a:ext cx="1254513" cy="352486"/>
          </a:xfrm>
          <a:prstGeom prst="rect">
            <a:avLst/>
          </a:prstGeom>
        </p:spPr>
      </p:pic>
    </p:spTree>
    <p:extLst>
      <p:ext uri="{BB962C8B-B14F-4D97-AF65-F5344CB8AC3E}">
        <p14:creationId xmlns:p14="http://schemas.microsoft.com/office/powerpoint/2010/main" val="307636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965254"/>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3152919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90347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1" cy="6994525"/>
          </a:xfrm>
          <a:prstGeom prst="rect">
            <a:avLst/>
          </a:prstGeom>
        </p:spPr>
      </p:pic>
      <p:sp>
        <p:nvSpPr>
          <p:cNvPr id="2" name="Title 1"/>
          <p:cNvSpPr>
            <a:spLocks noGrp="1"/>
          </p:cNvSpPr>
          <p:nvPr>
            <p:ph type="title" hasCustomPrompt="1"/>
          </p:nvPr>
        </p:nvSpPr>
        <p:spPr>
          <a:xfrm>
            <a:off x="274638" y="274320"/>
            <a:ext cx="7315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233776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1" cy="6994524"/>
          </a:xfrm>
          <a:prstGeom prst="rect">
            <a:avLst/>
          </a:prstGeom>
        </p:spPr>
      </p:pic>
      <p:sp>
        <p:nvSpPr>
          <p:cNvPr id="2" name="Title 1"/>
          <p:cNvSpPr>
            <a:spLocks noGrp="1"/>
          </p:cNvSpPr>
          <p:nvPr>
            <p:ph type="title" hasCustomPrompt="1"/>
          </p:nvPr>
        </p:nvSpPr>
        <p:spPr>
          <a:xfrm>
            <a:off x="274638" y="274320"/>
            <a:ext cx="7315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70829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1" cy="6994524"/>
          </a:xfrm>
          <a:prstGeom prst="rect">
            <a:avLst/>
          </a:prstGeom>
        </p:spPr>
      </p:pic>
      <p:sp>
        <p:nvSpPr>
          <p:cNvPr id="2" name="Title 1"/>
          <p:cNvSpPr>
            <a:spLocks noGrp="1"/>
          </p:cNvSpPr>
          <p:nvPr>
            <p:ph type="title" hasCustomPrompt="1"/>
          </p:nvPr>
        </p:nvSpPr>
        <p:spPr>
          <a:xfrm>
            <a:off x="274638" y="274320"/>
            <a:ext cx="7315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920601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smtClean="0"/>
              <a:t>Demo</a:t>
            </a:r>
            <a:endParaRPr lang="en-US" dirty="0"/>
          </a:p>
        </p:txBody>
      </p:sp>
    </p:spTree>
    <p:extLst>
      <p:ext uri="{BB962C8B-B14F-4D97-AF65-F5344CB8AC3E}">
        <p14:creationId xmlns:p14="http://schemas.microsoft.com/office/powerpoint/2010/main" val="9087865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2345"/>
          </a:xfrm>
          <a:prstGeom prst="rect">
            <a:avLst/>
          </a:prstGeom>
        </p:spPr>
      </p:pic>
      <p:sp>
        <p:nvSpPr>
          <p:cNvPr id="2" name="Title 1"/>
          <p:cNvSpPr>
            <a:spLocks noGrp="1"/>
          </p:cNvSpPr>
          <p:nvPr>
            <p:ph type="title" hasCustomPrompt="1"/>
          </p:nvPr>
        </p:nvSpPr>
        <p:spPr>
          <a:xfrm>
            <a:off x="274638" y="274320"/>
            <a:ext cx="7315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smtClean="0"/>
              <a:t>Announcing</a:t>
            </a:r>
            <a:endParaRPr lang="en-US" dirty="0"/>
          </a:p>
        </p:txBody>
      </p:sp>
    </p:spTree>
    <p:extLst>
      <p:ext uri="{BB962C8B-B14F-4D97-AF65-F5344CB8AC3E}">
        <p14:creationId xmlns:p14="http://schemas.microsoft.com/office/powerpoint/2010/main" val="3218968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27659" cy="6994525"/>
          </a:xfrm>
          <a:prstGeom prst="rect">
            <a:avLst/>
          </a:prstGeom>
        </p:spPr>
      </p:pic>
      <p:sp>
        <p:nvSpPr>
          <p:cNvPr id="2" name="Title 1"/>
          <p:cNvSpPr>
            <a:spLocks noGrp="1"/>
          </p:cNvSpPr>
          <p:nvPr>
            <p:ph type="title" hasCustomPrompt="1"/>
          </p:nvPr>
        </p:nvSpPr>
        <p:spPr>
          <a:xfrm>
            <a:off x="274638" y="274320"/>
            <a:ext cx="7315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smtClean="0"/>
              <a:t>Video</a:t>
            </a:r>
            <a:endParaRPr lang="en-US" dirty="0"/>
          </a:p>
        </p:txBody>
      </p:sp>
    </p:spTree>
    <p:extLst>
      <p:ext uri="{BB962C8B-B14F-4D97-AF65-F5344CB8AC3E}">
        <p14:creationId xmlns:p14="http://schemas.microsoft.com/office/powerpoint/2010/main" val="3110505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1"/>
            <a:ext cx="11887200" cy="2052338"/>
          </a:xfrm>
        </p:spPr>
        <p:txBody>
          <a:bodyPr/>
          <a:lstStyle>
            <a:lvl1pPr marL="0" indent="0">
              <a:buNone/>
              <a:defRPr>
                <a:solidFill>
                  <a:schemeClr val="accent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896755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1"/>
            <a:ext cx="11887200" cy="2052338"/>
          </a:xfrm>
        </p:spPr>
        <p:txBody>
          <a:bodyPr/>
          <a:lstStyle>
            <a:lvl1pPr marL="0" indent="0">
              <a:buNone/>
              <a:defRPr>
                <a:solidFill>
                  <a:schemeClr val="tx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700127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3"/>
            <a:ext cx="11887200" cy="2121397"/>
          </a:xfrm>
        </p:spPr>
        <p:txBody>
          <a:bodyPr>
            <a:spAutoFit/>
          </a:bodyPr>
          <a:lstStyle>
            <a:lvl1pPr>
              <a:defRPr>
                <a:solidFill>
                  <a:schemeClr val="accent2"/>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675442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3"/>
            <a:ext cx="11887200" cy="2121397"/>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9758987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3643096"/>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49"/>
            <a:ext cx="5486399" cy="2468368"/>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707" indent="0">
              <a:buNone/>
              <a:tabLst/>
              <a:defRPr sz="2000"/>
            </a:lvl3pPr>
            <a:lvl4pPr marL="460239" indent="0">
              <a:buNone/>
              <a:defRPr/>
            </a:lvl4pPr>
            <a:lvl5pPr marL="68559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49"/>
            <a:ext cx="5486399" cy="2468368"/>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707" indent="0">
              <a:buNone/>
              <a:tabLst/>
              <a:defRPr sz="2000"/>
            </a:lvl3pPr>
            <a:lvl4pPr marL="460239" indent="0">
              <a:buNone/>
              <a:defRPr/>
            </a:lvl4pPr>
            <a:lvl5pPr marL="68559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6357443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49"/>
            <a:ext cx="5486399" cy="2468368"/>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07" indent="0">
              <a:buNone/>
              <a:tabLst/>
              <a:defRPr sz="2000"/>
            </a:lvl3pPr>
            <a:lvl4pPr marL="460239" indent="0">
              <a:buNone/>
              <a:defRPr/>
            </a:lvl4pPr>
            <a:lvl5pPr marL="68559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49"/>
            <a:ext cx="5486399" cy="2468368"/>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07" indent="0">
              <a:buNone/>
              <a:tabLst/>
              <a:defRPr sz="2000"/>
            </a:lvl3pPr>
            <a:lvl4pPr marL="460239" indent="0">
              <a:buNone/>
              <a:defRPr/>
            </a:lvl4pPr>
            <a:lvl5pPr marL="68559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201466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52"/>
            <a:ext cx="5486399" cy="2536079"/>
          </a:xfrm>
        </p:spPr>
        <p:txBody>
          <a:bodyPr wrap="square">
            <a:spAutoFit/>
          </a:bodyPr>
          <a:lstStyle>
            <a:lvl1pPr marL="287254" indent="-287254">
              <a:spcBef>
                <a:spcPts val="1224"/>
              </a:spcBef>
              <a:buClr>
                <a:schemeClr val="tx1"/>
              </a:buClr>
              <a:buFont typeface="Arial" pitchFamily="34" charset="0"/>
              <a:buChar char="•"/>
              <a:defRPr sz="3600">
                <a:solidFill>
                  <a:srgbClr val="68217A"/>
                </a:solidFill>
              </a:defRPr>
            </a:lvl1pPr>
            <a:lvl2pPr marL="531010" indent="-233127">
              <a:defRPr sz="2400"/>
            </a:lvl2pPr>
            <a:lvl3pPr marL="699380" indent="-168370">
              <a:tabLst/>
              <a:defRPr sz="2000"/>
            </a:lvl3pPr>
            <a:lvl4pPr marL="880699" indent="-181321">
              <a:defRPr/>
            </a:lvl4pPr>
            <a:lvl5pPr marL="1049068" indent="-1683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52"/>
            <a:ext cx="5486399" cy="2536079"/>
          </a:xfrm>
        </p:spPr>
        <p:txBody>
          <a:bodyPr wrap="square">
            <a:spAutoFit/>
          </a:bodyPr>
          <a:lstStyle>
            <a:lvl1pPr marL="287254" indent="-287254">
              <a:spcBef>
                <a:spcPts val="1224"/>
              </a:spcBef>
              <a:buClr>
                <a:schemeClr val="tx1"/>
              </a:buClr>
              <a:buFont typeface="Arial" pitchFamily="34" charset="0"/>
              <a:buChar char="•"/>
              <a:defRPr sz="3600">
                <a:solidFill>
                  <a:srgbClr val="68217A"/>
                </a:solidFill>
              </a:defRPr>
            </a:lvl1pPr>
            <a:lvl2pPr marL="531010" indent="-233127">
              <a:defRPr sz="2400"/>
            </a:lvl2pPr>
            <a:lvl3pPr marL="699380" indent="-168370">
              <a:tabLst/>
              <a:defRPr sz="2000"/>
            </a:lvl3pPr>
            <a:lvl4pPr marL="880699" indent="-181321">
              <a:defRPr/>
            </a:lvl4pPr>
            <a:lvl5pPr marL="1049068" indent="-1683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41191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52"/>
            <a:ext cx="5486399" cy="2536079"/>
          </a:xfrm>
        </p:spPr>
        <p:txBody>
          <a:bodyPr wrap="square">
            <a:spAutoFit/>
          </a:bodyPr>
          <a:lstStyle>
            <a:lvl1pPr marL="287254" indent="-287254">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010" indent="-233127">
              <a:defRPr sz="2400"/>
            </a:lvl2pPr>
            <a:lvl3pPr marL="699380" indent="-168370">
              <a:tabLst/>
              <a:defRPr sz="2000"/>
            </a:lvl3pPr>
            <a:lvl4pPr marL="880699" indent="-181321">
              <a:defRPr/>
            </a:lvl4pPr>
            <a:lvl5pPr marL="1049068" indent="-1683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52"/>
            <a:ext cx="5486399" cy="2536079"/>
          </a:xfrm>
        </p:spPr>
        <p:txBody>
          <a:bodyPr wrap="square">
            <a:spAutoFit/>
          </a:bodyPr>
          <a:lstStyle>
            <a:lvl1pPr marL="287254" indent="-287254">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010" indent="-233127">
              <a:defRPr sz="2400"/>
            </a:lvl2pPr>
            <a:lvl3pPr marL="699380" indent="-168370">
              <a:tabLst/>
              <a:defRPr sz="2000"/>
            </a:lvl3pPr>
            <a:lvl4pPr marL="880699" indent="-181321">
              <a:defRPr/>
            </a:lvl4pPr>
            <a:lvl5pPr marL="1049068" indent="-1683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556778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74641" y="2124075"/>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3"/>
          <p:cNvSpPr>
            <a:spLocks noGrp="1"/>
          </p:cNvSpPr>
          <p:nvPr>
            <p:ph type="body" sz="quarter" idx="11"/>
          </p:nvPr>
        </p:nvSpPr>
        <p:spPr>
          <a:xfrm>
            <a:off x="6216791" y="2124075"/>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4000">
                <a:solidFill>
                  <a:srgbClr val="FFFFFF"/>
                </a:solidFill>
              </a:defRPr>
            </a:lvl1pPr>
            <a:lvl2pPr marL="0" indent="0">
              <a:spcBef>
                <a:spcPts val="1080"/>
              </a:spcBef>
              <a:buNone/>
              <a:defRPr sz="2000">
                <a:solidFill>
                  <a:srgbClr val="FFFFFF"/>
                </a:solidFill>
              </a:defRPr>
            </a:lvl2pPr>
            <a:lvl3pPr marL="231707" indent="0">
              <a:buNone/>
              <a:tabLst/>
              <a:defRPr sz="2000">
                <a:solidFill>
                  <a:srgbClr val="FFFFFF"/>
                </a:solidFill>
              </a:defRPr>
            </a:lvl3pPr>
            <a:lvl4pPr marL="460239" indent="0">
              <a:buNone/>
              <a:defRPr>
                <a:solidFill>
                  <a:srgbClr val="FFFFFF"/>
                </a:solidFill>
              </a:defRPr>
            </a:lvl4pPr>
            <a:lvl5pPr marL="685598" indent="0">
              <a:buNone/>
              <a:tabLst/>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609416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74641" y="2124075"/>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241641" y="2124075"/>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8205661" y="2124075"/>
            <a:ext cx="3959352"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517257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1" cy="3657600"/>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74641" y="2124075"/>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914810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590435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1" y="2124075"/>
            <a:ext cx="11887200" cy="1353136"/>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346526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1" y="2124075"/>
            <a:ext cx="3959352"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0"/>
          </p:nvPr>
        </p:nvSpPr>
        <p:spPr>
          <a:xfrm>
            <a:off x="274641" y="2124075"/>
            <a:ext cx="7315200" cy="30484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450820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72237401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49"/>
            <a:ext cx="5486399" cy="304847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707" indent="0">
              <a:buNone/>
              <a:tabLst/>
              <a:defRPr sz="2000"/>
            </a:lvl3pPr>
            <a:lvl4pPr marL="460239" indent="0">
              <a:buNone/>
              <a:defRPr/>
            </a:lvl4pPr>
            <a:lvl5pPr marL="68559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1"/>
          </p:nvPr>
        </p:nvSpPr>
        <p:spPr>
          <a:xfrm>
            <a:off x="6672263" y="1200150"/>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smtClean="0"/>
              <a:t>Click to edit Master text styles</a:t>
            </a:r>
          </a:p>
          <a:p>
            <a:pPr lvl="1"/>
            <a:r>
              <a:rPr lang="en-US" smtClean="0"/>
              <a:t>Second level</a:t>
            </a:r>
          </a:p>
        </p:txBody>
      </p:sp>
      <p:sp>
        <p:nvSpPr>
          <p:cNvPr id="7" name="Text Placeholder 3"/>
          <p:cNvSpPr>
            <a:spLocks noGrp="1"/>
          </p:cNvSpPr>
          <p:nvPr>
            <p:ph type="body" sz="quarter" idx="12"/>
          </p:nvPr>
        </p:nvSpPr>
        <p:spPr>
          <a:xfrm>
            <a:off x="9423400" y="1200150"/>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smtClean="0"/>
              <a:t>Click to edit Master text styles</a:t>
            </a:r>
          </a:p>
          <a:p>
            <a:pPr lvl="1"/>
            <a:r>
              <a:rPr lang="en-US" smtClean="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smtClean="0"/>
              <a:t>Click to edit Master text styles</a:t>
            </a:r>
          </a:p>
          <a:p>
            <a:pPr lvl="1"/>
            <a:r>
              <a:rPr lang="en-US" smtClean="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3404922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5"/>
            <a:ext cx="11887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880277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5"/>
            <a:ext cx="11887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702473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5"/>
            <a:ext cx="11887200" cy="1831975"/>
          </a:xfrm>
          <a:noFill/>
        </p:spPr>
        <p:txBody>
          <a:bodyPr tIns="91413" bIns="91413" anchor="t" anchorCtr="0"/>
          <a:lstStyle>
            <a:lvl1pPr>
              <a:defRPr sz="8800" spc="-100"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30628659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7838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8133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86966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778028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7" tIns="46627" rIns="46627" bIns="46627" numCol="1" spcCol="0" rtlCol="0" fromWordArt="0" anchor="ctr" anchorCtr="0" forceAA="0" compatLnSpc="1">
            <a:prstTxWarp prst="textNoShape">
              <a:avLst/>
            </a:prstTxWarp>
            <a:noAutofit/>
          </a:bodyPr>
          <a:lstStyle/>
          <a:p>
            <a:pPr algn="ctr" defTabSz="9321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60"/>
            <a:ext cx="11887199" cy="2022517"/>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451"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36" indent="0">
              <a:buNone/>
              <a:defRPr>
                <a:gradFill>
                  <a:gsLst>
                    <a:gs pos="1250">
                      <a:srgbClr val="000000"/>
                    </a:gs>
                    <a:gs pos="100000">
                      <a:srgbClr val="000000"/>
                    </a:gs>
                  </a:gsLst>
                  <a:lin ang="5400000" scaled="0"/>
                </a:gradFill>
                <a:latin typeface="Segoe UI" pitchFamily="34" charset="0"/>
                <a:cs typeface="Segoe UI" pitchFamily="34" charset="0"/>
              </a:defRPr>
            </a:lvl3pPr>
            <a:lvl4pPr marL="814324"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688"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271196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2"/>
            <a:ext cx="11887200" cy="2443746"/>
          </a:xfrm>
          <a:prstGeom prst="rect">
            <a:avLst/>
          </a:prstGeom>
        </p:spPr>
        <p:txBody>
          <a:bodyPr/>
          <a:lstStyle>
            <a:lvl1pPr marL="290428" indent="-29042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5">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59"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2" indent="-22853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6" indent="-2285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412815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02772865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6" name="Rectangle 5"/>
          <p:cNvSpPr/>
          <p:nvPr userDrawn="1"/>
        </p:nvSpPr>
        <p:spPr bwMode="gray">
          <a:xfrm>
            <a:off x="274637" y="1711870"/>
            <a:ext cx="10480103" cy="36576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273050" y="1711868"/>
            <a:ext cx="10481690"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10" name="Text Placeholder 2"/>
          <p:cNvSpPr>
            <a:spLocks noGrp="1"/>
          </p:cNvSpPr>
          <p:nvPr>
            <p:ph type="body" sz="quarter" idx="14" hasCustomPrompt="1"/>
          </p:nvPr>
        </p:nvSpPr>
        <p:spPr bwMode="ltGray">
          <a:xfrm>
            <a:off x="274638" y="3814990"/>
            <a:ext cx="1047909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 y="2122"/>
            <a:ext cx="4262026" cy="17218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4741" y="6305574"/>
            <a:ext cx="1681734" cy="644221"/>
          </a:xfrm>
          <a:prstGeom prst="rect">
            <a:avLst/>
          </a:prstGeom>
        </p:spPr>
      </p:pic>
    </p:spTree>
    <p:extLst>
      <p:ext uri="{BB962C8B-B14F-4D97-AF65-F5344CB8AC3E}">
        <p14:creationId xmlns:p14="http://schemas.microsoft.com/office/powerpoint/2010/main" val="4040698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607309" y="6182440"/>
            <a:ext cx="1552931" cy="332660"/>
          </a:xfrm>
          <a:prstGeom prst="rect">
            <a:avLst/>
          </a:prstGeom>
        </p:spPr>
      </p:pic>
      <p:pic>
        <p:nvPicPr>
          <p:cNvPr id="3" name="Picture 2"/>
          <p:cNvPicPr>
            <a:picLocks noChangeAspect="1"/>
          </p:cNvPicPr>
          <p:nvPr userDrawn="1"/>
        </p:nvPicPr>
        <p:blipFill>
          <a:blip r:embed="rId5">
            <a:lum bright="100000"/>
          </a:blip>
          <a:stretch>
            <a:fillRect/>
          </a:stretch>
        </p:blipFill>
        <p:spPr>
          <a:xfrm>
            <a:off x="457200" y="423276"/>
            <a:ext cx="7148251" cy="1350756"/>
          </a:xfrm>
          <a:prstGeom prst="rect">
            <a:avLst/>
          </a:prstGeom>
        </p:spPr>
      </p:pic>
    </p:spTree>
    <p:extLst>
      <p:ext uri="{BB962C8B-B14F-4D97-AF65-F5344CB8AC3E}">
        <p14:creationId xmlns:p14="http://schemas.microsoft.com/office/powerpoint/2010/main" val="217811276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9ED7"/>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Rectangle 12"/>
          <p:cNvSpPr/>
          <p:nvPr userDrawn="1"/>
        </p:nvSpPr>
        <p:spPr bwMode="white">
          <a:xfrm>
            <a:off x="635"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Tree>
    <p:extLst>
      <p:ext uri="{BB962C8B-B14F-4D97-AF65-F5344CB8AC3E}">
        <p14:creationId xmlns:p14="http://schemas.microsoft.com/office/powerpoint/2010/main" val="78284645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Tree>
    <p:extLst>
      <p:ext uri="{BB962C8B-B14F-4D97-AF65-F5344CB8AC3E}">
        <p14:creationId xmlns:p14="http://schemas.microsoft.com/office/powerpoint/2010/main" val="334080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141282613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351727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3931818" y="2952527"/>
            <a:ext cx="8504657" cy="4041998"/>
          </a:xfrm>
          <a:prstGeom prst="rect">
            <a:avLst/>
          </a:prstGeom>
        </p:spPr>
      </p:pic>
    </p:spTree>
    <p:extLst>
      <p:ext uri="{BB962C8B-B14F-4D97-AF65-F5344CB8AC3E}">
        <p14:creationId xmlns:p14="http://schemas.microsoft.com/office/powerpoint/2010/main" val="299895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2427303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1833395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876186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96257106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01412457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8749872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8642288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2652249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2411350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0510399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6589097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3379602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2851654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252562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dirty="0"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9085942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3011921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58349261"/>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591513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2664692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95886941"/>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7324954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5099642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51266823"/>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4444055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7882488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dirty="0"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1113480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41341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152426553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126776947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315958231"/>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4155548359"/>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gridCol w="2819531"/>
                <a:gridCol w="2819531"/>
                <a:gridCol w="2819531"/>
              </a:tblGrid>
              <a:tr h="657264">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49712">
                <a:tc>
                  <a:txBody>
                    <a:bodyPr/>
                    <a:lstStyle/>
                    <a:p>
                      <a:r>
                        <a:rPr lang="en-US" sz="1600" dirty="0" smtClean="0">
                          <a:solidFill>
                            <a:srgbClr val="3C454F"/>
                          </a:solidFill>
                        </a:rPr>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330461875"/>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347752812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242818"/>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300141734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Section Title Accent Color 2">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39063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dirty="0"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249033651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7"/>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5"/>
          <p:cNvSpPr>
            <a:spLocks noGrp="1"/>
          </p:cNvSpPr>
          <p:nvPr>
            <p:ph sz="quarter" idx="4"/>
          </p:nvPr>
        </p:nvSpPr>
        <p:spPr>
          <a:xfrm>
            <a:off x="6401584" y="1398907"/>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2454408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244261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2" y="286004"/>
            <a:ext cx="11375536" cy="78650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5533" y="1429994"/>
            <a:ext cx="11375536"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492787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771540" y="5627055"/>
            <a:ext cx="5113853" cy="1047305"/>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2228468163"/>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771540" y="5627055"/>
            <a:ext cx="5113853" cy="1047305"/>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2314354250"/>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771540" y="5627055"/>
            <a:ext cx="5113853" cy="1047305"/>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20946315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771540" y="5627055"/>
            <a:ext cx="5113853" cy="1047305"/>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2980693109"/>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a:xfrm>
            <a:off x="6771540" y="5627055"/>
            <a:ext cx="5113853" cy="1047305"/>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46908210"/>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416001"/>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3"/>
            <a:ext cx="11887200" cy="2121397"/>
          </a:xfrm>
        </p:spPr>
        <p:txBody>
          <a:bodyPr>
            <a:spAutoFit/>
          </a:bodyPr>
          <a:lstStyle>
            <a:lvl1pPr>
              <a:defRPr>
                <a:solidFill>
                  <a:schemeClr val="accent2"/>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80876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5" Type="http://schemas.openxmlformats.org/officeDocument/2006/relationships/slideLayout" Target="../slideLayouts/slideLayout157.xml"/><Relationship Id="rId10" Type="http://schemas.openxmlformats.org/officeDocument/2006/relationships/image" Target="../media/image27.emf"/><Relationship Id="rId4" Type="http://schemas.openxmlformats.org/officeDocument/2006/relationships/slideLayout" Target="../slideLayouts/slideLayout156.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4" Type="http://schemas.openxmlformats.org/officeDocument/2006/relationships/slideLayout" Target="../slideLayouts/slideLayout164.xml"/><Relationship Id="rId9" Type="http://schemas.openxmlformats.org/officeDocument/2006/relationships/image" Target="../media/image27.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5.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5" Type="http://schemas.openxmlformats.org/officeDocument/2006/relationships/slideLayout" Target="../slideLayouts/slideLayout172.xml"/><Relationship Id="rId10" Type="http://schemas.openxmlformats.org/officeDocument/2006/relationships/image" Target="../media/image27.emf"/><Relationship Id="rId4" Type="http://schemas.openxmlformats.org/officeDocument/2006/relationships/slideLayout" Target="../slideLayouts/slideLayout171.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image" Target="../media/image27.emf"/><Relationship Id="rId2" Type="http://schemas.openxmlformats.org/officeDocument/2006/relationships/slideLayout" Target="../slideLayouts/slideLayout177.xml"/><Relationship Id="rId16" Type="http://schemas.openxmlformats.org/officeDocument/2006/relationships/theme" Target="../theme/theme13.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image" Target="../media/image1.png"/><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3.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4.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image" Target="../media/image27.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image" Target="../media/image27.emf"/><Relationship Id="rId2" Type="http://schemas.openxmlformats.org/officeDocument/2006/relationships/slideLayout" Target="../slideLayouts/slideLayout115.xml"/><Relationship Id="rId16" Type="http://schemas.openxmlformats.org/officeDocument/2006/relationships/theme" Target="../theme/theme6.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6.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5" Type="http://schemas.openxmlformats.org/officeDocument/2006/relationships/slideLayout" Target="../slideLayouts/slideLayout133.xml"/><Relationship Id="rId10" Type="http://schemas.openxmlformats.org/officeDocument/2006/relationships/image" Target="../media/image27.emf"/><Relationship Id="rId4" Type="http://schemas.openxmlformats.org/officeDocument/2006/relationships/slideLayout" Target="../slideLayouts/slideLayout13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5" Type="http://schemas.openxmlformats.org/officeDocument/2006/relationships/slideLayout" Target="../slideLayouts/slideLayout141.xml"/><Relationship Id="rId10" Type="http://schemas.openxmlformats.org/officeDocument/2006/relationships/image" Target="../media/image27.emf"/><Relationship Id="rId4" Type="http://schemas.openxmlformats.org/officeDocument/2006/relationships/slideLayout" Target="../slideLayouts/slideLayout14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5" Type="http://schemas.openxmlformats.org/officeDocument/2006/relationships/slideLayout" Target="../slideLayouts/slideLayout149.xml"/><Relationship Id="rId10" Type="http://schemas.openxmlformats.org/officeDocument/2006/relationships/image" Target="../media/image27.emf"/><Relationship Id="rId4" Type="http://schemas.openxmlformats.org/officeDocument/2006/relationships/slideLayout" Target="../slideLayouts/slideLayout14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682259825"/>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10"/>
          <a:stretch>
            <a:fillRect/>
          </a:stretch>
        </p:blipFill>
        <p:spPr>
          <a:xfrm>
            <a:off x="457629" y="-1954867"/>
            <a:ext cx="1955144" cy="1954867"/>
          </a:xfrm>
          <a:prstGeom prst="rect">
            <a:avLst/>
          </a:prstGeom>
        </p:spPr>
      </p:pic>
      <p:sp>
        <p:nvSpPr>
          <p:cNvPr id="8" name="Rectangle 7"/>
          <p:cNvSpPr/>
          <p:nvPr/>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p:nvSpPr>
        <p:spPr>
          <a:xfrm>
            <a:off x="1" y="0"/>
            <a:ext cx="125762" cy="6994525"/>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268500994"/>
      </p:ext>
    </p:extLst>
  </p:cSld>
  <p:clrMap bg1="lt1" tx1="dk1" bg2="lt2" tx2="dk2" accent1="accent1" accent2="accent2" accent3="accent3" accent4="accent4" accent5="accent5" accent6="accent6" hlink="hlink" folHlink="folHlink"/>
  <p:sldLayoutIdLst>
    <p:sldLayoutId id="2147484344" r:id="rId1"/>
    <p:sldLayoutId id="2147484345" r:id="rId2"/>
    <p:sldLayoutId id="2147484346" r:id="rId3"/>
    <p:sldLayoutId id="2147484347" r:id="rId4"/>
    <p:sldLayoutId id="2147484348" r:id="rId5"/>
    <p:sldLayoutId id="2147484349" r:id="rId6"/>
    <p:sldLayoutId id="2147484350" r:id="rId7"/>
    <p:sldLayoutId id="2147484351" r:id="rId8"/>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9"/>
          <a:stretch>
            <a:fillRect/>
          </a:stretch>
        </p:blipFill>
        <p:spPr>
          <a:xfrm>
            <a:off x="457629" y="-1954867"/>
            <a:ext cx="1955144" cy="1954867"/>
          </a:xfrm>
          <a:prstGeom prst="rect">
            <a:avLst/>
          </a:prstGeom>
        </p:spPr>
      </p:pic>
      <p:sp>
        <p:nvSpPr>
          <p:cNvPr id="8" name="Rectangle 7"/>
          <p:cNvSpPr/>
          <p:nvPr/>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p:nvSpPr>
        <p:spPr>
          <a:xfrm>
            <a:off x="1" y="0"/>
            <a:ext cx="125762" cy="6994525"/>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71457338"/>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5" name="Rectangle 14"/>
          <p:cNvSpPr/>
          <p:nvPr userDrawn="1"/>
        </p:nvSpPr>
        <p:spPr>
          <a:xfrm>
            <a:off x="1" y="0"/>
            <a:ext cx="125762" cy="699452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0171B0"/>
                </a:solidFill>
              </a:defRPr>
            </a:lvl1pPr>
          </a:lstStyle>
          <a:p>
            <a:pPr defTabSz="932597"/>
            <a:fld id="{0D099E2A-118A-4377-8F98-2DF40BCBA9FE}" type="slidenum">
              <a:rPr lang="en-US" smtClean="0"/>
              <a:pPr defTabSz="932597"/>
              <a:t>‹#›</a:t>
            </a:fld>
            <a:endParaRPr lang="en-US" dirty="0"/>
          </a:p>
        </p:txBody>
      </p:sp>
    </p:spTree>
    <p:extLst>
      <p:ext uri="{BB962C8B-B14F-4D97-AF65-F5344CB8AC3E}">
        <p14:creationId xmlns:p14="http://schemas.microsoft.com/office/powerpoint/2010/main" val="2471763008"/>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14" name="Slide Number Placeholder 5"/>
          <p:cNvSpPr txBox="1">
            <a:spLocks/>
          </p:cNvSpPr>
          <p:nvPr userDrawn="1"/>
        </p:nvSpPr>
        <p:spPr>
          <a:xfrm>
            <a:off x="572043" y="6380761"/>
            <a:ext cx="2798207" cy="372394"/>
          </a:xfrm>
          <a:prstGeom prst="rect">
            <a:avLst/>
          </a:prstGeom>
        </p:spPr>
        <p:txBody>
          <a:bodyPr vert="horz" lIns="93260" tIns="46630" rIns="93260" bIns="4663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040" dirty="0" smtClean="0"/>
              <a:t>Microsoft Azure</a:t>
            </a:r>
            <a:endParaRPr lang="en-US" sz="2040" dirty="0"/>
          </a:p>
        </p:txBody>
      </p:sp>
      <p:sp>
        <p:nvSpPr>
          <p:cNvPr id="15" name="Rectangle 14"/>
          <p:cNvSpPr/>
          <p:nvPr userDrawn="1"/>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97"/>
            <a:fld id="{0D099E2A-118A-4377-8F98-2DF40BCBA9FE}" type="slidenum">
              <a:rPr lang="en-US" smtClean="0"/>
              <a:pPr defTabSz="932597"/>
              <a:t>‹#›</a:t>
            </a:fld>
            <a:endParaRPr lang="en-US"/>
          </a:p>
        </p:txBody>
      </p:sp>
    </p:spTree>
    <p:extLst>
      <p:ext uri="{BB962C8B-B14F-4D97-AF65-F5344CB8AC3E}">
        <p14:creationId xmlns:p14="http://schemas.microsoft.com/office/powerpoint/2010/main" val="2444879014"/>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5277"/>
            <a:ext cx="11889564" cy="917575"/>
          </a:xfrm>
          <a:prstGeom prst="rect">
            <a:avLst/>
          </a:prstGeom>
        </p:spPr>
        <p:txBody>
          <a:bodyPr vert="horz" wrap="square" lIns="146260" tIns="91413" rIns="146260" bIns="91413"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4"/>
            <a:ext cx="11887198" cy="2121397"/>
          </a:xfrm>
          <a:prstGeom prst="rect">
            <a:avLst/>
          </a:prstGeom>
        </p:spPr>
        <p:txBody>
          <a:bodyPr vert="horz" wrap="square" lIns="146260" tIns="91413" rIns="146260" bIns="91413"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6270544"/>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75" r:id="rId35"/>
  </p:sldLayoutIdLst>
  <p:transition>
    <p:fade/>
  </p:transition>
  <p:timing>
    <p:tnLst>
      <p:par>
        <p:cTn id="1" dur="indefinite" restart="never" nodeType="tmRoot"/>
      </p:par>
    </p:tnLst>
  </p:timing>
  <p:txStyles>
    <p:titleStyle>
      <a:lvl1pPr algn="l" defTabSz="932468"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68" rtl="0" eaLnBrk="1" latinLnBrk="0" hangingPunct="1">
        <a:defRPr sz="1800" kern="1200">
          <a:solidFill>
            <a:schemeClr val="tx1"/>
          </a:solidFill>
          <a:latin typeface="+mn-lt"/>
          <a:ea typeface="+mn-ea"/>
          <a:cs typeface="+mn-cs"/>
        </a:defRPr>
      </a:lvl1pPr>
      <a:lvl2pPr marL="466235" algn="l" defTabSz="932468" rtl="0" eaLnBrk="1" latinLnBrk="0" hangingPunct="1">
        <a:defRPr sz="1800" kern="1200">
          <a:solidFill>
            <a:schemeClr val="tx1"/>
          </a:solidFill>
          <a:latin typeface="+mn-lt"/>
          <a:ea typeface="+mn-ea"/>
          <a:cs typeface="+mn-cs"/>
        </a:defRPr>
      </a:lvl2pPr>
      <a:lvl3pPr marL="932468" algn="l" defTabSz="932468" rtl="0" eaLnBrk="1" latinLnBrk="0" hangingPunct="1">
        <a:defRPr sz="1800" kern="1200">
          <a:solidFill>
            <a:schemeClr val="tx1"/>
          </a:solidFill>
          <a:latin typeface="+mn-lt"/>
          <a:ea typeface="+mn-ea"/>
          <a:cs typeface="+mn-cs"/>
        </a:defRPr>
      </a:lvl3pPr>
      <a:lvl4pPr marL="1398702" algn="l" defTabSz="932468" rtl="0" eaLnBrk="1" latinLnBrk="0" hangingPunct="1">
        <a:defRPr sz="1800" kern="1200">
          <a:solidFill>
            <a:schemeClr val="tx1"/>
          </a:solidFill>
          <a:latin typeface="+mn-lt"/>
          <a:ea typeface="+mn-ea"/>
          <a:cs typeface="+mn-cs"/>
        </a:defRPr>
      </a:lvl4pPr>
      <a:lvl5pPr marL="1864936" algn="l" defTabSz="932468" rtl="0" eaLnBrk="1" latinLnBrk="0" hangingPunct="1">
        <a:defRPr sz="1800" kern="1200">
          <a:solidFill>
            <a:schemeClr val="tx1"/>
          </a:solidFill>
          <a:latin typeface="+mn-lt"/>
          <a:ea typeface="+mn-ea"/>
          <a:cs typeface="+mn-cs"/>
        </a:defRPr>
      </a:lvl5pPr>
      <a:lvl6pPr marL="2331170" algn="l" defTabSz="932468" rtl="0" eaLnBrk="1" latinLnBrk="0" hangingPunct="1">
        <a:defRPr sz="1800" kern="1200">
          <a:solidFill>
            <a:schemeClr val="tx1"/>
          </a:solidFill>
          <a:latin typeface="+mn-lt"/>
          <a:ea typeface="+mn-ea"/>
          <a:cs typeface="+mn-cs"/>
        </a:defRPr>
      </a:lvl6pPr>
      <a:lvl7pPr marL="2797404" algn="l" defTabSz="932468" rtl="0" eaLnBrk="1" latinLnBrk="0" hangingPunct="1">
        <a:defRPr sz="1800" kern="1200">
          <a:solidFill>
            <a:schemeClr val="tx1"/>
          </a:solidFill>
          <a:latin typeface="+mn-lt"/>
          <a:ea typeface="+mn-ea"/>
          <a:cs typeface="+mn-cs"/>
        </a:defRPr>
      </a:lvl7pPr>
      <a:lvl8pPr marL="3263638" algn="l" defTabSz="932468" rtl="0" eaLnBrk="1" latinLnBrk="0" hangingPunct="1">
        <a:defRPr sz="1800" kern="1200">
          <a:solidFill>
            <a:schemeClr val="tx1"/>
          </a:solidFill>
          <a:latin typeface="+mn-lt"/>
          <a:ea typeface="+mn-ea"/>
          <a:cs typeface="+mn-cs"/>
        </a:defRPr>
      </a:lvl8pPr>
      <a:lvl9pPr marL="3729872" algn="l" defTabSz="93246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955802476"/>
      </p:ext>
    </p:extLst>
  </p:cSld>
  <p:clrMap bg1="dk1" tx1="lt1" bg2="dk2" tx2="lt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 id="2147484268" r:id="rId24"/>
    <p:sldLayoutId id="2147484269" r:id="rId25"/>
    <p:sldLayoutId id="2147484270" r:id="rId26"/>
    <p:sldLayoutId id="2147484271" r:id="rId27"/>
    <p:sldLayoutId id="2147484272" r:id="rId28"/>
    <p:sldLayoutId id="2147484273" r:id="rId29"/>
    <p:sldLayoutId id="2147484274" r:id="rId30"/>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4"/>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5" name="Rectangle 14"/>
          <p:cNvSpPr/>
          <p:nvPr userDrawn="1"/>
        </p:nvSpPr>
        <p:spPr>
          <a:xfrm>
            <a:off x="1" y="0"/>
            <a:ext cx="125762" cy="6994525"/>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endParaRP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pPr defTabSz="932597"/>
            <a:fld id="{0D099E2A-118A-4377-8F98-2DF40BCBA9FE}" type="slidenum">
              <a:rPr lang="en-US" smtClean="0"/>
              <a:pPr defTabSz="932597"/>
              <a:t>‹#›</a:t>
            </a:fld>
            <a:endParaRPr lang="en-US" dirty="0"/>
          </a:p>
        </p:txBody>
      </p:sp>
    </p:spTree>
    <p:extLst>
      <p:ext uri="{BB962C8B-B14F-4D97-AF65-F5344CB8AC3E}">
        <p14:creationId xmlns:p14="http://schemas.microsoft.com/office/powerpoint/2010/main" val="2986459294"/>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58932" y="3840840"/>
            <a:ext cx="10726460" cy="1351952"/>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854925" y="5469875"/>
            <a:ext cx="6030467" cy="830055"/>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81828728"/>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8" r:id="rId6"/>
    <p:sldLayoutId id="2147484299" r:id="rId7"/>
    <p:sldLayoutId id="2147484300" r:id="rId8"/>
    <p:sldLayoutId id="2147484301" r:id="rId9"/>
    <p:sldLayoutId id="2147484303" r:id="rId10"/>
    <p:sldLayoutId id="2147484189" r:id="rId11"/>
    <p:sldLayoutId id="2147484185" r:id="rId12"/>
    <p:sldLayoutId id="2147484186" r:id="rId13"/>
    <p:sldLayoutId id="2147484101" r:id="rId14"/>
    <p:sldLayoutId id="2147484102" r:id="rId15"/>
    <p:sldLayoutId id="2147484098" r:id="rId16"/>
    <p:sldLayoutId id="2147484093" r:id="rId17"/>
    <p:sldLayoutId id="2147484127" r:id="rId18"/>
    <p:sldLayoutId id="2147484128" r:id="rId19"/>
    <p:sldLayoutId id="2147484129" r:id="rId20"/>
    <p:sldLayoutId id="2147484094" r:id="rId21"/>
  </p:sldLayoutIdLst>
  <p:timing>
    <p:tnLst>
      <p:par>
        <p:cTn id="1" dur="indefinite" restart="never" nodeType="tmRoot"/>
      </p:par>
    </p:tnLst>
  </p:timing>
  <p:txStyles>
    <p:titleStyle>
      <a:lvl1pPr algn="r" defTabSz="932597" rtl="0" eaLnBrk="1" latinLnBrk="0" hangingPunct="1">
        <a:lnSpc>
          <a:spcPct val="90000"/>
        </a:lnSpc>
        <a:spcBef>
          <a:spcPct val="0"/>
        </a:spcBef>
        <a:buNone/>
        <a:defRPr sz="9791"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32597" rtl="0" eaLnBrk="1" latinLnBrk="0" hangingPunct="1">
        <a:lnSpc>
          <a:spcPct val="90000"/>
        </a:lnSpc>
        <a:spcBef>
          <a:spcPts val="1020"/>
        </a:spcBef>
        <a:buFont typeface="Arial" panose="020B0604020202020204" pitchFamily="34" charset="0"/>
        <a:buNone/>
        <a:defRPr sz="1836" b="0" kern="1200">
          <a:solidFill>
            <a:srgbClr val="1D4380"/>
          </a:solidFill>
          <a:latin typeface="Segoe UI Semibold" panose="020B0702040204020203" pitchFamily="34" charset="0"/>
          <a:ea typeface="+mn-ea"/>
          <a:cs typeface="Segoe UI Semibold" panose="020B07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17"/>
          <a:stretch>
            <a:fillRect/>
          </a:stretch>
        </p:blipFill>
        <p:spPr>
          <a:xfrm>
            <a:off x="457629" y="-1954867"/>
            <a:ext cx="1955144" cy="1954867"/>
          </a:xfrm>
          <a:prstGeom prst="rect">
            <a:avLst/>
          </a:prstGeom>
        </p:spPr>
      </p:pic>
      <p:sp>
        <p:nvSpPr>
          <p:cNvPr id="8" name="Rectangle 7"/>
          <p:cNvSpPr/>
          <p:nvPr/>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58814003"/>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69" r:id="rId12"/>
    <p:sldLayoutId id="2147484370" r:id="rId13"/>
    <p:sldLayoutId id="2147484371" r:id="rId14"/>
    <p:sldLayoutId id="2147484372" r:id="rId15"/>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10"/>
          <a:stretch>
            <a:fillRect/>
          </a:stretch>
        </p:blipFill>
        <p:spPr>
          <a:xfrm>
            <a:off x="457629" y="-1954867"/>
            <a:ext cx="1955144" cy="1954867"/>
          </a:xfrm>
          <a:prstGeom prst="rect">
            <a:avLst/>
          </a:prstGeom>
        </p:spPr>
      </p:pic>
      <p:sp>
        <p:nvSpPr>
          <p:cNvPr id="8" name="Rectangle 7"/>
          <p:cNvSpPr/>
          <p:nvPr/>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p:nvSpPr>
        <p:spPr>
          <a:xfrm>
            <a:off x="1" y="0"/>
            <a:ext cx="125762" cy="6994525"/>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545344167"/>
      </p:ext>
    </p:extLst>
  </p:cSld>
  <p:clrMap bg1="lt1" tx1="dk1" bg2="lt2" tx2="dk2" accent1="accent1" accent2="accent2" accent3="accent3" accent4="accent4" accent5="accent5" accent6="accent6" hlink="hlink" folHlink="folHlink"/>
  <p:sldLayoutIdLst>
    <p:sldLayoutId id="2147484317" r:id="rId1"/>
    <p:sldLayoutId id="2147484318" r:id="rId2"/>
    <p:sldLayoutId id="2147484319" r:id="rId3"/>
    <p:sldLayoutId id="2147484320" r:id="rId4"/>
    <p:sldLayoutId id="2147484321" r:id="rId5"/>
    <p:sldLayoutId id="2147484322" r:id="rId6"/>
    <p:sldLayoutId id="2147484323" r:id="rId7"/>
    <p:sldLayoutId id="2147484324" r:id="rId8"/>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10"/>
          <a:stretch>
            <a:fillRect/>
          </a:stretch>
        </p:blipFill>
        <p:spPr>
          <a:xfrm>
            <a:off x="457629" y="-1954867"/>
            <a:ext cx="1955144" cy="1954867"/>
          </a:xfrm>
          <a:prstGeom prst="rect">
            <a:avLst/>
          </a:prstGeom>
        </p:spPr>
      </p:pic>
      <p:sp>
        <p:nvSpPr>
          <p:cNvPr id="8" name="Rectangle 7"/>
          <p:cNvSpPr/>
          <p:nvPr/>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p:nvSpPr>
        <p:spPr>
          <a:xfrm>
            <a:off x="1" y="0"/>
            <a:ext cx="125762" cy="6994525"/>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51921874"/>
      </p:ext>
    </p:extLst>
  </p:cSld>
  <p:clrMap bg1="lt1" tx1="dk1" bg2="lt2" tx2="dk2" accent1="accent1" accent2="accent2" accent3="accent3" accent4="accent4" accent5="accent5" accent6="accent6" hlink="hlink" folHlink="folHlink"/>
  <p:sldLayoutIdLst>
    <p:sldLayoutId id="2147484326" r:id="rId1"/>
    <p:sldLayoutId id="2147484327" r:id="rId2"/>
    <p:sldLayoutId id="2147484328" r:id="rId3"/>
    <p:sldLayoutId id="2147484329" r:id="rId4"/>
    <p:sldLayoutId id="2147484330" r:id="rId5"/>
    <p:sldLayoutId id="2147484331" r:id="rId6"/>
    <p:sldLayoutId id="2147484332" r:id="rId7"/>
    <p:sldLayoutId id="2147484333" r:id="rId8"/>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10"/>
          <a:stretch>
            <a:fillRect/>
          </a:stretch>
        </p:blipFill>
        <p:spPr>
          <a:xfrm>
            <a:off x="457629" y="-1954867"/>
            <a:ext cx="1955144" cy="1954867"/>
          </a:xfrm>
          <a:prstGeom prst="rect">
            <a:avLst/>
          </a:prstGeom>
        </p:spPr>
      </p:pic>
      <p:sp>
        <p:nvSpPr>
          <p:cNvPr id="8" name="Rectangle 7"/>
          <p:cNvSpPr/>
          <p:nvPr/>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p:nvSpPr>
        <p:spPr>
          <a:xfrm>
            <a:off x="1" y="0"/>
            <a:ext cx="125762" cy="699452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099649259"/>
      </p:ext>
    </p:extLst>
  </p:cSld>
  <p:clrMap bg1="lt1" tx1="dk1" bg2="lt2" tx2="dk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342" r:id="rId8"/>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7.xml"/></Relationships>
</file>

<file path=ppt/slides/_rels/slide18.xml.rels><?xml version="1.0" encoding="UTF-8" standalone="yes"?>
<Relationships xmlns="http://schemas.openxmlformats.org/package/2006/relationships"><Relationship Id="rId3" Type="http://schemas.openxmlformats.org/officeDocument/2006/relationships/hyperlink" Target="http://www.asp.net/vnext" TargetMode="External"/><Relationship Id="rId2" Type="http://schemas.openxmlformats.org/officeDocument/2006/relationships/notesSlide" Target="../notesSlides/notesSlide18.xml"/><Relationship Id="rId1" Type="http://schemas.openxmlformats.org/officeDocument/2006/relationships/slideLayout" Target="../slideLayouts/slideLayout115.xml"/><Relationship Id="rId4" Type="http://schemas.openxmlformats.org/officeDocument/2006/relationships/hyperlink" Target="http://www.palermo4.com/post/ASPNET-5.aspx" TargetMode="Externa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8.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8.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9.xml"/><Relationship Id="rId9"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9.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89.xml"/><Relationship Id="rId7" Type="http://schemas.openxmlformats.org/officeDocument/2006/relationships/diagramData" Target="../diagrams/data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8.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21.xml"/><Relationship Id="rId9"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190.xml"/><Relationship Id="rId7" Type="http://schemas.openxmlformats.org/officeDocument/2006/relationships/image" Target="../media/image3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8.emf"/><Relationship Id="rId5" Type="http://schemas.openxmlformats.org/officeDocument/2006/relationships/oleObject" Target="../embeddings/oleObject3.bin"/><Relationship Id="rId10" Type="http://schemas.openxmlformats.org/officeDocument/2006/relationships/image" Target="../media/image42.png"/><Relationship Id="rId4" Type="http://schemas.openxmlformats.org/officeDocument/2006/relationships/notesSlide" Target="../notesSlides/notesSlide22.xml"/><Relationship Id="rId9" Type="http://schemas.openxmlformats.org/officeDocument/2006/relationships/image" Target="../media/image4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77.xml"/></Relationships>
</file>

<file path=ppt/slides/_rels/slide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xml"/><Relationship Id="rId1" Type="http://schemas.openxmlformats.org/officeDocument/2006/relationships/slideLayout" Target="../slideLayouts/slideLayout1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26.xml"/><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16.xml"/><Relationship Id="rId4" Type="http://schemas.openxmlformats.org/officeDocument/2006/relationships/hyperlink" Target="http://github.com/aspnet/home"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5.xml"/></Relationships>
</file>

<file path=ppt/slides/_rels/slide9.xml.rels><?xml version="1.0" encoding="UTF-8" standalone="yes"?>
<Relationships xmlns="http://schemas.openxmlformats.org/package/2006/relationships"><Relationship Id="rId3" Type="http://schemas.openxmlformats.org/officeDocument/2006/relationships/hyperlink" Target="http://www.microsoft.com/en-us/download/details.aspx?id=42678" TargetMode="External"/><Relationship Id="rId2" Type="http://schemas.openxmlformats.org/officeDocument/2006/relationships/notesSlide" Target="../notesSlides/notesSlide9.xml"/><Relationship Id="rId1" Type="http://schemas.openxmlformats.org/officeDocument/2006/relationships/slideLayout" Target="../slideLayouts/slideLayout1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23719" y="2096526"/>
            <a:ext cx="10724938" cy="1351952"/>
          </a:xfrm>
        </p:spPr>
        <p:txBody>
          <a:bodyPr/>
          <a:lstStyle/>
          <a:p>
            <a:r>
              <a:rPr lang="en-US" sz="6731" dirty="0" smtClean="0"/>
              <a:t>ASP.NET 5</a:t>
            </a:r>
            <a:endParaRPr lang="en-US" sz="6731" dirty="0"/>
          </a:p>
        </p:txBody>
      </p:sp>
      <p:sp>
        <p:nvSpPr>
          <p:cNvPr id="6" name="Text Placeholder 5"/>
          <p:cNvSpPr>
            <a:spLocks noGrp="1"/>
          </p:cNvSpPr>
          <p:nvPr>
            <p:ph type="body" sz="quarter" idx="10"/>
          </p:nvPr>
        </p:nvSpPr>
        <p:spPr>
          <a:xfrm>
            <a:off x="5570596" y="4075822"/>
            <a:ext cx="6478061" cy="2365387"/>
          </a:xfrm>
        </p:spPr>
        <p:txBody>
          <a:bodyPr>
            <a:normAutofit/>
          </a:bodyPr>
          <a:lstStyle/>
          <a:p>
            <a:r>
              <a:rPr lang="en-US" sz="3264" dirty="0"/>
              <a:t>Michael Palermo</a:t>
            </a:r>
          </a:p>
          <a:p>
            <a:r>
              <a:rPr lang="en-US" sz="2448" b="1" dirty="0">
                <a:solidFill>
                  <a:srgbClr val="00518E">
                    <a:alpha val="98000"/>
                  </a:srgbClr>
                </a:solidFill>
                <a:effectLst>
                  <a:outerShdw blurRad="38100" dist="38100" dir="2700000" algn="tl">
                    <a:srgbClr val="000000">
                      <a:alpha val="43137"/>
                    </a:srgbClr>
                  </a:outerShdw>
                </a:effectLst>
              </a:rPr>
              <a:t>Microsoft</a:t>
            </a:r>
          </a:p>
          <a:p>
            <a:endParaRPr lang="en-US" dirty="0">
              <a:solidFill>
                <a:schemeClr val="accent6">
                  <a:lumMod val="40000"/>
                  <a:lumOff val="60000"/>
                  <a:alpha val="98000"/>
                </a:schemeClr>
              </a:solidFill>
            </a:endParaRPr>
          </a:p>
          <a:p>
            <a:r>
              <a:rPr lang="en-US" sz="2040" b="1" dirty="0">
                <a:solidFill>
                  <a:schemeClr val="accent6">
                    <a:lumMod val="40000"/>
                    <a:lumOff val="60000"/>
                    <a:alpha val="98000"/>
                  </a:schemeClr>
                </a:solidFill>
              </a:rPr>
              <a:t>mpalermo@microsoft.com</a:t>
            </a:r>
          </a:p>
          <a:p>
            <a:r>
              <a:rPr lang="en-US" sz="2040" b="1" dirty="0">
                <a:solidFill>
                  <a:schemeClr val="accent6">
                    <a:lumMod val="40000"/>
                    <a:lumOff val="60000"/>
                    <a:alpha val="98000"/>
                  </a:schemeClr>
                </a:solidFill>
              </a:rPr>
              <a:t>@palermo4</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6748" y="3456072"/>
            <a:ext cx="5127695" cy="2985137"/>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228981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New </a:t>
            </a:r>
            <a:r>
              <a:rPr lang="en-US" dirty="0" smtClean="0"/>
              <a:t>modular HTTP request </a:t>
            </a:r>
            <a:r>
              <a:rPr lang="en-US" dirty="0"/>
              <a:t>pipeline</a:t>
            </a:r>
            <a:br>
              <a:rPr lang="en-US" dirty="0"/>
            </a:br>
            <a:endParaRPr lang="en-US" dirty="0"/>
          </a:p>
        </p:txBody>
      </p:sp>
      <p:sp>
        <p:nvSpPr>
          <p:cNvPr id="3" name="Text Placeholder 2"/>
          <p:cNvSpPr>
            <a:spLocks noGrp="1"/>
          </p:cNvSpPr>
          <p:nvPr>
            <p:ph idx="1"/>
          </p:nvPr>
        </p:nvSpPr>
        <p:spPr/>
        <p:txBody>
          <a:bodyPr/>
          <a:lstStyle/>
          <a:p>
            <a:r>
              <a:rPr lang="en-US" dirty="0" smtClean="0"/>
              <a:t>Modular</a:t>
            </a:r>
          </a:p>
          <a:p>
            <a:r>
              <a:rPr lang="en-US" dirty="0" smtClean="0"/>
              <a:t>Fast and lean</a:t>
            </a:r>
          </a:p>
          <a:p>
            <a:r>
              <a:rPr lang="en-US" dirty="0" smtClean="0"/>
              <a:t>Flexible hosting</a:t>
            </a:r>
          </a:p>
          <a:p>
            <a:r>
              <a:rPr lang="en-US" dirty="0" smtClean="0"/>
              <a:t>Supports OWIN</a:t>
            </a:r>
          </a:p>
        </p:txBody>
      </p:sp>
    </p:spTree>
    <p:extLst>
      <p:ext uri="{BB962C8B-B14F-4D97-AF65-F5344CB8AC3E}">
        <p14:creationId xmlns:p14="http://schemas.microsoft.com/office/powerpoint/2010/main" val="1178758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t cloud ready</a:t>
            </a:r>
            <a:endParaRPr lang="en-US" dirty="0"/>
          </a:p>
        </p:txBody>
      </p:sp>
      <p:sp>
        <p:nvSpPr>
          <p:cNvPr id="3" name="Text Placeholder 2"/>
          <p:cNvSpPr>
            <a:spLocks noGrp="1"/>
          </p:cNvSpPr>
          <p:nvPr>
            <p:ph idx="1"/>
          </p:nvPr>
        </p:nvSpPr>
        <p:spPr/>
        <p:txBody>
          <a:bodyPr/>
          <a:lstStyle/>
          <a:p>
            <a:r>
              <a:rPr lang="en-US" dirty="0" smtClean="0"/>
              <a:t>New environment based </a:t>
            </a:r>
            <a:r>
              <a:rPr lang="en-US" dirty="0" err="1" smtClean="0"/>
              <a:t>config</a:t>
            </a:r>
            <a:r>
              <a:rPr lang="en-US" dirty="0" smtClean="0"/>
              <a:t> system</a:t>
            </a:r>
          </a:p>
          <a:p>
            <a:pPr lvl="1"/>
            <a:r>
              <a:rPr lang="en-US" dirty="0" smtClean="0"/>
              <a:t>No more complicated </a:t>
            </a:r>
            <a:r>
              <a:rPr lang="en-US" dirty="0" err="1" smtClean="0"/>
              <a:t>web.config</a:t>
            </a:r>
            <a:r>
              <a:rPr lang="en-US" dirty="0" smtClean="0"/>
              <a:t> and </a:t>
            </a:r>
            <a:r>
              <a:rPr lang="en-US" dirty="0" err="1" smtClean="0"/>
              <a:t>config</a:t>
            </a:r>
            <a:r>
              <a:rPr lang="en-US" dirty="0" smtClean="0"/>
              <a:t> transforms</a:t>
            </a:r>
          </a:p>
          <a:p>
            <a:r>
              <a:rPr lang="en-US" dirty="0" smtClean="0"/>
              <a:t>Integrated DI</a:t>
            </a:r>
          </a:p>
          <a:p>
            <a:r>
              <a:rPr lang="en-US" dirty="0" smtClean="0"/>
              <a:t>Reduce COGS</a:t>
            </a:r>
          </a:p>
          <a:p>
            <a:r>
              <a:rPr lang="en-US" dirty="0" smtClean="0"/>
              <a:t>Integrated tracing and diagnostics</a:t>
            </a:r>
          </a:p>
          <a:p>
            <a:pPr lvl="1"/>
            <a:r>
              <a:rPr lang="en-US" dirty="0" smtClean="0"/>
              <a:t>ETW, App Insights</a:t>
            </a:r>
          </a:p>
        </p:txBody>
      </p:sp>
    </p:spTree>
    <p:extLst>
      <p:ext uri="{BB962C8B-B14F-4D97-AF65-F5344CB8AC3E}">
        <p14:creationId xmlns:p14="http://schemas.microsoft.com/office/powerpoint/2010/main" val="605928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development</a:t>
            </a:r>
            <a:endParaRPr lang="en-US" dirty="0"/>
          </a:p>
        </p:txBody>
      </p:sp>
      <p:sp>
        <p:nvSpPr>
          <p:cNvPr id="3" name="Text Placeholder 2"/>
          <p:cNvSpPr>
            <a:spLocks noGrp="1"/>
          </p:cNvSpPr>
          <p:nvPr>
            <p:ph idx="1"/>
          </p:nvPr>
        </p:nvSpPr>
        <p:spPr/>
        <p:txBody>
          <a:bodyPr/>
          <a:lstStyle/>
          <a:p>
            <a:r>
              <a:rPr lang="en-US" dirty="0" smtClean="0"/>
              <a:t>Premier developer experience in Visual Studio 2015</a:t>
            </a:r>
          </a:p>
          <a:p>
            <a:r>
              <a:rPr lang="en-US" dirty="0"/>
              <a:t>Leverage online or third party </a:t>
            </a:r>
            <a:r>
              <a:rPr lang="en-US" dirty="0" smtClean="0"/>
              <a:t>editors</a:t>
            </a:r>
          </a:p>
          <a:p>
            <a:r>
              <a:rPr lang="en-US" dirty="0" smtClean="0"/>
              <a:t>Cross-platform command-line support</a:t>
            </a:r>
          </a:p>
        </p:txBody>
      </p:sp>
      <p:sp>
        <p:nvSpPr>
          <p:cNvPr id="4" name="Rectangle 3"/>
          <p:cNvSpPr/>
          <p:nvPr/>
        </p:nvSpPr>
        <p:spPr>
          <a:xfrm>
            <a:off x="1356417" y="3783277"/>
            <a:ext cx="6216650" cy="2031325"/>
          </a:xfrm>
          <a:prstGeom prst="rect">
            <a:avLst/>
          </a:prstGeom>
        </p:spPr>
        <p:txBody>
          <a:bodyPr>
            <a:spAutoFit/>
          </a:bodyPr>
          <a:lstStyle/>
          <a:p>
            <a:r>
              <a:rPr lang="en-US" b="1" dirty="0">
                <a:solidFill>
                  <a:schemeClr val="bg1"/>
                </a:solidFill>
              </a:rPr>
              <a:t>k		k runtime – runs the application</a:t>
            </a:r>
          </a:p>
          <a:p>
            <a:endParaRPr lang="en-US" b="1" dirty="0">
              <a:solidFill>
                <a:schemeClr val="bg1"/>
              </a:solidFill>
            </a:endParaRPr>
          </a:p>
          <a:p>
            <a:r>
              <a:rPr lang="en-US" b="1" dirty="0" err="1">
                <a:solidFill>
                  <a:schemeClr val="bg1"/>
                </a:solidFill>
              </a:rPr>
              <a:t>kvm</a:t>
            </a:r>
            <a:r>
              <a:rPr lang="en-US" b="1" dirty="0">
                <a:solidFill>
                  <a:schemeClr val="bg1"/>
                </a:solidFill>
              </a:rPr>
              <a:t>		k version manager</a:t>
            </a:r>
            <a:br>
              <a:rPr lang="en-US" b="1" dirty="0">
                <a:solidFill>
                  <a:schemeClr val="bg1"/>
                </a:solidFill>
              </a:rPr>
            </a:br>
            <a:r>
              <a:rPr lang="en-US" b="1" dirty="0">
                <a:solidFill>
                  <a:schemeClr val="bg1"/>
                </a:solidFill>
              </a:rPr>
              <a:t>		installs / manages versions</a:t>
            </a:r>
          </a:p>
          <a:p>
            <a:endParaRPr lang="en-US" b="1" dirty="0">
              <a:solidFill>
                <a:schemeClr val="bg1"/>
              </a:solidFill>
            </a:endParaRPr>
          </a:p>
          <a:p>
            <a:r>
              <a:rPr lang="en-US" b="1" dirty="0" err="1">
                <a:solidFill>
                  <a:schemeClr val="bg1"/>
                </a:solidFill>
              </a:rPr>
              <a:t>kpm</a:t>
            </a:r>
            <a:r>
              <a:rPr lang="en-US" b="1" dirty="0">
                <a:solidFill>
                  <a:schemeClr val="bg1"/>
                </a:solidFill>
              </a:rPr>
              <a:t>		k package manager</a:t>
            </a:r>
            <a:br>
              <a:rPr lang="en-US" b="1" dirty="0">
                <a:solidFill>
                  <a:schemeClr val="bg1"/>
                </a:solidFill>
              </a:rPr>
            </a:br>
            <a:r>
              <a:rPr lang="en-US" b="1" dirty="0">
                <a:solidFill>
                  <a:schemeClr val="bg1"/>
                </a:solidFill>
              </a:rPr>
              <a:t>		installs / manages packages</a:t>
            </a:r>
          </a:p>
        </p:txBody>
      </p:sp>
    </p:spTree>
    <p:extLst>
      <p:ext uri="{BB962C8B-B14F-4D97-AF65-F5344CB8AC3E}">
        <p14:creationId xmlns:p14="http://schemas.microsoft.com/office/powerpoint/2010/main" val="3619289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5 - Compatibility</a:t>
            </a:r>
            <a:endParaRPr lang="en-US" dirty="0"/>
          </a:p>
        </p:txBody>
      </p:sp>
      <p:sp>
        <p:nvSpPr>
          <p:cNvPr id="3" name="Text Placeholder 2"/>
          <p:cNvSpPr>
            <a:spLocks noGrp="1"/>
          </p:cNvSpPr>
          <p:nvPr>
            <p:ph idx="1"/>
          </p:nvPr>
        </p:nvSpPr>
        <p:spPr/>
        <p:txBody>
          <a:bodyPr>
            <a:normAutofit fontScale="77500" lnSpcReduction="20000"/>
          </a:bodyPr>
          <a:lstStyle/>
          <a:p>
            <a:pPr algn="l"/>
            <a:r>
              <a:rPr lang="en-US" sz="3200" dirty="0" smtClean="0">
                <a:solidFill>
                  <a:schemeClr val="bg1"/>
                </a:solidFill>
              </a:rPr>
              <a:t>Web Forms, MVC 5, Web API 2, Web Pages 3, </a:t>
            </a:r>
            <a:r>
              <a:rPr lang="en-US" sz="3200" dirty="0" err="1" smtClean="0">
                <a:solidFill>
                  <a:schemeClr val="bg1"/>
                </a:solidFill>
              </a:rPr>
              <a:t>SignalR</a:t>
            </a:r>
            <a:r>
              <a:rPr lang="en-US" sz="3200" dirty="0" smtClean="0">
                <a:solidFill>
                  <a:schemeClr val="bg1"/>
                </a:solidFill>
              </a:rPr>
              <a:t> 2, EF 6</a:t>
            </a:r>
          </a:p>
          <a:p>
            <a:pPr lvl="1"/>
            <a:r>
              <a:rPr lang="en-US" dirty="0" smtClean="0">
                <a:solidFill>
                  <a:schemeClr val="bg1"/>
                </a:solidFill>
              </a:rPr>
              <a:t>Fully supported on .NET </a:t>
            </a:r>
            <a:r>
              <a:rPr lang="en-US" dirty="0" err="1" smtClean="0">
                <a:solidFill>
                  <a:schemeClr val="bg1"/>
                </a:solidFill>
              </a:rPr>
              <a:t>vNext</a:t>
            </a:r>
            <a:endParaRPr lang="en-US" dirty="0" smtClean="0">
              <a:solidFill>
                <a:schemeClr val="bg1"/>
              </a:solidFill>
            </a:endParaRPr>
          </a:p>
          <a:p>
            <a:pPr algn="l"/>
            <a:r>
              <a:rPr lang="en-US" sz="3200" dirty="0" smtClean="0">
                <a:solidFill>
                  <a:schemeClr val="bg1"/>
                </a:solidFill>
              </a:rPr>
              <a:t>MVC, Web API, Web Pages 6, </a:t>
            </a:r>
            <a:r>
              <a:rPr lang="en-US" sz="3200" dirty="0" err="1" smtClean="0">
                <a:solidFill>
                  <a:schemeClr val="bg1"/>
                </a:solidFill>
              </a:rPr>
              <a:t>SignalR</a:t>
            </a:r>
            <a:r>
              <a:rPr lang="en-US" sz="3200" dirty="0" smtClean="0">
                <a:solidFill>
                  <a:schemeClr val="bg1"/>
                </a:solidFill>
              </a:rPr>
              <a:t> 3</a:t>
            </a:r>
          </a:p>
          <a:p>
            <a:pPr lvl="1"/>
            <a:r>
              <a:rPr lang="en-US" dirty="0" smtClean="0">
                <a:solidFill>
                  <a:schemeClr val="bg1"/>
                </a:solidFill>
              </a:rPr>
              <a:t>Run on new runtime and request pipeline only (no System.Web.dll)</a:t>
            </a:r>
          </a:p>
          <a:p>
            <a:pPr lvl="1"/>
            <a:r>
              <a:rPr lang="en-US" dirty="0" smtClean="0">
                <a:solidFill>
                  <a:schemeClr val="bg1"/>
                </a:solidFill>
              </a:rPr>
              <a:t>Merged MVC, Web API, Web Pages framework</a:t>
            </a:r>
          </a:p>
          <a:p>
            <a:pPr lvl="1"/>
            <a:r>
              <a:rPr lang="en-US" dirty="0" smtClean="0">
                <a:solidFill>
                  <a:schemeClr val="bg1"/>
                </a:solidFill>
              </a:rPr>
              <a:t>New project system</a:t>
            </a:r>
          </a:p>
          <a:p>
            <a:pPr lvl="1"/>
            <a:r>
              <a:rPr lang="en-US" dirty="0" smtClean="0">
                <a:solidFill>
                  <a:schemeClr val="bg1"/>
                </a:solidFill>
              </a:rPr>
              <a:t>New configuration system</a:t>
            </a:r>
          </a:p>
          <a:p>
            <a:pPr algn="l"/>
            <a:r>
              <a:rPr lang="en-US" sz="3200" dirty="0" smtClean="0">
                <a:solidFill>
                  <a:schemeClr val="bg1"/>
                </a:solidFill>
              </a:rPr>
              <a:t>.NET </a:t>
            </a:r>
            <a:r>
              <a:rPr lang="en-US" sz="3200" dirty="0" err="1" smtClean="0">
                <a:solidFill>
                  <a:schemeClr val="bg1"/>
                </a:solidFill>
              </a:rPr>
              <a:t>vNext</a:t>
            </a:r>
            <a:r>
              <a:rPr lang="en-US" sz="3200" dirty="0" smtClean="0">
                <a:solidFill>
                  <a:schemeClr val="bg1"/>
                </a:solidFill>
              </a:rPr>
              <a:t> (Cloud Optimized)</a:t>
            </a:r>
          </a:p>
          <a:p>
            <a:pPr lvl="1"/>
            <a:r>
              <a:rPr lang="en-US" dirty="0" smtClean="0">
                <a:solidFill>
                  <a:schemeClr val="bg1"/>
                </a:solidFill>
              </a:rPr>
              <a:t>Subset of the .NET Framework</a:t>
            </a:r>
          </a:p>
          <a:p>
            <a:pPr lvl="1"/>
            <a:r>
              <a:rPr lang="en-US" dirty="0" smtClean="0">
                <a:solidFill>
                  <a:schemeClr val="bg1"/>
                </a:solidFill>
              </a:rPr>
              <a:t>Modernized API surface area</a:t>
            </a:r>
          </a:p>
          <a:p>
            <a:pPr lvl="1"/>
            <a:r>
              <a:rPr lang="en-US" dirty="0" smtClean="0">
                <a:solidFill>
                  <a:schemeClr val="bg1"/>
                </a:solidFill>
              </a:rPr>
              <a:t>Things you depend on might not be available yet (images, </a:t>
            </a:r>
            <a:r>
              <a:rPr lang="en-US" dirty="0" err="1" smtClean="0">
                <a:solidFill>
                  <a:schemeClr val="bg1"/>
                </a:solidFill>
              </a:rPr>
              <a:t>etc</a:t>
            </a:r>
            <a:r>
              <a:rPr lang="en-US" dirty="0" smtClean="0">
                <a:solidFill>
                  <a:schemeClr val="bg1"/>
                </a:solidFill>
              </a:rPr>
              <a:t>)</a:t>
            </a:r>
          </a:p>
          <a:p>
            <a:pPr lvl="1"/>
            <a:endParaRPr lang="en-US" dirty="0" smtClean="0">
              <a:solidFill>
                <a:schemeClr val="bg1"/>
              </a:solidFill>
            </a:endParaRPr>
          </a:p>
          <a:p>
            <a:pPr lvl="1"/>
            <a:endParaRPr lang="en-US" dirty="0">
              <a:solidFill>
                <a:schemeClr val="bg1"/>
              </a:solidFill>
            </a:endParaRPr>
          </a:p>
        </p:txBody>
      </p:sp>
    </p:spTree>
    <p:extLst>
      <p:ext uri="{BB962C8B-B14F-4D97-AF65-F5344CB8AC3E}">
        <p14:creationId xmlns:p14="http://schemas.microsoft.com/office/powerpoint/2010/main" val="16665072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world today – similar, but different</a:t>
            </a:r>
            <a:endParaRPr lang="en-US" dirty="0"/>
          </a:p>
        </p:txBody>
      </p:sp>
      <p:sp>
        <p:nvSpPr>
          <p:cNvPr id="3" name="Rectangle 2"/>
          <p:cNvSpPr/>
          <p:nvPr/>
        </p:nvSpPr>
        <p:spPr bwMode="auto">
          <a:xfrm>
            <a:off x="4663774" y="1759921"/>
            <a:ext cx="2377414" cy="438907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MVC</a:t>
            </a:r>
            <a:endParaRPr lang="en-US" sz="2000" dirty="0">
              <a:gradFill>
                <a:gsLst>
                  <a:gs pos="0">
                    <a:srgbClr val="FFFFFF"/>
                  </a:gs>
                  <a:gs pos="100000">
                    <a:srgbClr val="FFFFFF"/>
                  </a:gs>
                </a:gsLst>
                <a:lin ang="5400000" scaled="0"/>
              </a:gradFill>
            </a:endParaRPr>
          </a:p>
        </p:txBody>
      </p:sp>
      <p:sp>
        <p:nvSpPr>
          <p:cNvPr id="4" name="Rectangle 3"/>
          <p:cNvSpPr/>
          <p:nvPr/>
        </p:nvSpPr>
        <p:spPr bwMode="auto">
          <a:xfrm>
            <a:off x="7224066" y="1759921"/>
            <a:ext cx="2377414" cy="438907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5" name="Rectangle 4"/>
          <p:cNvSpPr/>
          <p:nvPr/>
        </p:nvSpPr>
        <p:spPr bwMode="auto">
          <a:xfrm>
            <a:off x="2103482" y="1759921"/>
            <a:ext cx="2377414" cy="4389072"/>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Web Pages</a:t>
            </a:r>
            <a:endParaRPr lang="en-US" sz="2000" dirty="0">
              <a:gradFill>
                <a:gsLst>
                  <a:gs pos="0">
                    <a:srgbClr val="FFFFFF"/>
                  </a:gs>
                  <a:gs pos="100000">
                    <a:srgbClr val="FFFFFF"/>
                  </a:gs>
                </a:gsLst>
                <a:lin ang="5400000" scaled="0"/>
              </a:gradFill>
            </a:endParaRPr>
          </a:p>
        </p:txBody>
      </p:sp>
      <p:sp>
        <p:nvSpPr>
          <p:cNvPr id="6" name="Rectangle 5"/>
          <p:cNvSpPr/>
          <p:nvPr/>
        </p:nvSpPr>
        <p:spPr bwMode="auto">
          <a:xfrm>
            <a:off x="2286360" y="2308555"/>
            <a:ext cx="4571950" cy="4571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azor</a:t>
            </a:r>
            <a:endParaRPr lang="en-US" sz="2000" dirty="0">
              <a:gradFill>
                <a:gsLst>
                  <a:gs pos="0">
                    <a:srgbClr val="FFFFFF"/>
                  </a:gs>
                  <a:gs pos="100000">
                    <a:srgbClr val="FFFFFF"/>
                  </a:gs>
                </a:gsLst>
                <a:lin ang="5400000" scaled="0"/>
              </a:gradFill>
            </a:endParaRPr>
          </a:p>
        </p:txBody>
      </p:sp>
      <p:sp>
        <p:nvSpPr>
          <p:cNvPr id="7" name="Rectangle 6"/>
          <p:cNvSpPr/>
          <p:nvPr/>
        </p:nvSpPr>
        <p:spPr bwMode="auto">
          <a:xfrm>
            <a:off x="2290089" y="2855627"/>
            <a:ext cx="2007929" cy="457195"/>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HTML Helpers</a:t>
            </a: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4850381" y="2855627"/>
            <a:ext cx="2007929" cy="45719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HTML Helpers</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4848516" y="3402699"/>
            <a:ext cx="2007929" cy="45719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Controllers</a:t>
            </a:r>
            <a:endParaRPr lang="en-US" sz="2000" dirty="0">
              <a:gradFill>
                <a:gsLst>
                  <a:gs pos="0">
                    <a:srgbClr val="FFFFFF"/>
                  </a:gs>
                  <a:gs pos="100000">
                    <a:srgbClr val="FFFFFF"/>
                  </a:gs>
                </a:gsLst>
                <a:lin ang="5400000" scaled="0"/>
              </a:gradFill>
            </a:endParaRPr>
          </a:p>
        </p:txBody>
      </p:sp>
      <p:sp>
        <p:nvSpPr>
          <p:cNvPr id="10" name="Rectangle 9"/>
          <p:cNvSpPr/>
          <p:nvPr/>
        </p:nvSpPr>
        <p:spPr bwMode="auto">
          <a:xfrm>
            <a:off x="7408808" y="3401359"/>
            <a:ext cx="2007929" cy="457195"/>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Controllers</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4848516" y="3948431"/>
            <a:ext cx="2007929" cy="45719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ctions</a:t>
            </a:r>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7408808" y="3947091"/>
            <a:ext cx="2007929" cy="457195"/>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ctions</a:t>
            </a: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4848516" y="4497065"/>
            <a:ext cx="2007929" cy="45719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Filters</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7408808" y="4495725"/>
            <a:ext cx="2007929" cy="457195"/>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Filters</a:t>
            </a:r>
            <a:endParaRPr lang="en-US" sz="2000" dirty="0">
              <a:gradFill>
                <a:gsLst>
                  <a:gs pos="0">
                    <a:srgbClr val="FFFFFF"/>
                  </a:gs>
                  <a:gs pos="100000">
                    <a:srgbClr val="FFFFFF"/>
                  </a:gs>
                </a:gsLst>
                <a:lin ang="5400000" scaled="0"/>
              </a:gradFill>
            </a:endParaRPr>
          </a:p>
        </p:txBody>
      </p:sp>
      <p:sp>
        <p:nvSpPr>
          <p:cNvPr id="15" name="Rectangle 14"/>
          <p:cNvSpPr/>
          <p:nvPr/>
        </p:nvSpPr>
        <p:spPr bwMode="auto">
          <a:xfrm>
            <a:off x="4848516" y="5042797"/>
            <a:ext cx="2007929" cy="45719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Model binding</a:t>
            </a: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7408808" y="5041457"/>
            <a:ext cx="2007929" cy="457195"/>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Model bindin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4848516" y="5587189"/>
            <a:ext cx="2007929" cy="45719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DI</a:t>
            </a:r>
            <a:endParaRPr lang="en-US" sz="2000" dirty="0">
              <a:gradFill>
                <a:gsLst>
                  <a:gs pos="0">
                    <a:srgbClr val="FFFFFF"/>
                  </a:gs>
                  <a:gs pos="100000">
                    <a:srgbClr val="FFFFFF"/>
                  </a:gs>
                </a:gsLst>
                <a:lin ang="5400000" scaled="0"/>
              </a:gradFill>
            </a:endParaRPr>
          </a:p>
        </p:txBody>
      </p:sp>
      <p:sp>
        <p:nvSpPr>
          <p:cNvPr id="18" name="Rectangle 17"/>
          <p:cNvSpPr/>
          <p:nvPr/>
        </p:nvSpPr>
        <p:spPr bwMode="auto">
          <a:xfrm>
            <a:off x="7408808" y="5585849"/>
            <a:ext cx="2007929" cy="457195"/>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DI</a:t>
            </a: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074169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2043" y="2821286"/>
            <a:ext cx="11301996" cy="1351952"/>
          </a:xfrm>
        </p:spPr>
        <p:txBody>
          <a:bodyPr>
            <a:normAutofit fontScale="90000"/>
          </a:bodyPr>
          <a:lstStyle/>
          <a:p>
            <a:pPr algn="ctr"/>
            <a:r>
              <a:rPr lang="en-US" sz="6600" dirty="0" smtClean="0"/>
              <a:t>MVC + Web API + Web Pages = </a:t>
            </a:r>
            <a:br>
              <a:rPr lang="en-US" sz="6600" dirty="0" smtClean="0"/>
            </a:br>
            <a:r>
              <a:rPr lang="en-US" b="1" dirty="0" smtClean="0">
                <a:effectLst>
                  <a:outerShdw blurRad="38100" dist="38100" dir="2700000" algn="tl">
                    <a:srgbClr val="000000">
                      <a:alpha val="43137"/>
                    </a:srgbClr>
                  </a:outerShdw>
                </a:effectLst>
              </a:rPr>
              <a:t>ASP.NET MVC 6</a:t>
            </a:r>
            <a:r>
              <a:rPr lang="en-US" dirty="0" smtClean="0"/>
              <a:t>!</a:t>
            </a:r>
            <a:endParaRPr lang="en-US" dirty="0"/>
          </a:p>
        </p:txBody>
      </p:sp>
    </p:spTree>
    <p:extLst>
      <p:ext uri="{BB962C8B-B14F-4D97-AF65-F5344CB8AC3E}">
        <p14:creationId xmlns:p14="http://schemas.microsoft.com/office/powerpoint/2010/main" val="797822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meworks – all the familiar faces</a:t>
            </a:r>
            <a:endParaRPr lang="en-US" dirty="0"/>
          </a:p>
        </p:txBody>
      </p:sp>
      <p:sp>
        <p:nvSpPr>
          <p:cNvPr id="3" name="Text Placeholder 2"/>
          <p:cNvSpPr>
            <a:spLocks noGrp="1"/>
          </p:cNvSpPr>
          <p:nvPr>
            <p:ph idx="1"/>
          </p:nvPr>
        </p:nvSpPr>
        <p:spPr/>
        <p:txBody>
          <a:bodyPr>
            <a:normAutofit fontScale="92500" lnSpcReduction="20000"/>
          </a:bodyPr>
          <a:lstStyle/>
          <a:p>
            <a:r>
              <a:rPr lang="en-US" dirty="0" smtClean="0"/>
              <a:t>MVC 6: Aligned </a:t>
            </a:r>
            <a:r>
              <a:rPr lang="en-US" dirty="0"/>
              <a:t>MVC, Web API, Web </a:t>
            </a:r>
            <a:r>
              <a:rPr lang="en-US" dirty="0" smtClean="0"/>
              <a:t>Pages</a:t>
            </a:r>
            <a:endParaRPr lang="en-US" dirty="0"/>
          </a:p>
          <a:p>
            <a:pPr lvl="1"/>
            <a:r>
              <a:rPr lang="en-US" dirty="0" smtClean="0"/>
              <a:t>One set of concepts – remove duplication</a:t>
            </a:r>
          </a:p>
          <a:p>
            <a:pPr lvl="1"/>
            <a:r>
              <a:rPr lang="en-US" dirty="0" smtClean="0"/>
              <a:t>Web UI and Web APIs</a:t>
            </a:r>
          </a:p>
          <a:p>
            <a:pPr lvl="1"/>
            <a:r>
              <a:rPr lang="en-US" dirty="0" smtClean="0"/>
              <a:t>Smooth transition from Web Pages to MVC</a:t>
            </a:r>
          </a:p>
          <a:p>
            <a:pPr lvl="1"/>
            <a:r>
              <a:rPr lang="en-US" dirty="0" smtClean="0"/>
              <a:t>Built DI first</a:t>
            </a:r>
          </a:p>
          <a:p>
            <a:pPr lvl="1"/>
            <a:r>
              <a:rPr lang="en-US" dirty="0" smtClean="0"/>
              <a:t>Runs on IIS or self-host</a:t>
            </a:r>
          </a:p>
          <a:p>
            <a:pPr lvl="1"/>
            <a:r>
              <a:rPr lang="en-US" dirty="0" smtClean="0"/>
              <a:t>Based on the new request pipeline in ASP.NET 5</a:t>
            </a:r>
          </a:p>
          <a:p>
            <a:pPr lvl="1"/>
            <a:r>
              <a:rPr lang="en-US" dirty="0" smtClean="0"/>
              <a:t>Runs cloud-optimized!</a:t>
            </a:r>
          </a:p>
          <a:p>
            <a:r>
              <a:rPr lang="en-US" dirty="0"/>
              <a:t>Other frameworks you know and love</a:t>
            </a:r>
          </a:p>
          <a:p>
            <a:pPr lvl="1"/>
            <a:r>
              <a:rPr lang="en-US" dirty="0" err="1"/>
              <a:t>SignalR</a:t>
            </a:r>
            <a:r>
              <a:rPr lang="en-US" dirty="0"/>
              <a:t>, Identity, Entity Framework</a:t>
            </a:r>
          </a:p>
          <a:p>
            <a:endParaRPr lang="en-US" dirty="0"/>
          </a:p>
        </p:txBody>
      </p:sp>
    </p:spTree>
    <p:extLst>
      <p:ext uri="{BB962C8B-B14F-4D97-AF65-F5344CB8AC3E}">
        <p14:creationId xmlns:p14="http://schemas.microsoft.com/office/powerpoint/2010/main" val="27949430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ASP.NET 5 Demo</a:t>
            </a:r>
            <a:endParaRPr lang="en-US" dirty="0">
              <a:solidFill>
                <a:schemeClr val="bg1"/>
              </a:solidFill>
            </a:endParaRPr>
          </a:p>
        </p:txBody>
      </p:sp>
      <p:sp>
        <p:nvSpPr>
          <p:cNvPr id="4" name="Text Placeholder 3"/>
          <p:cNvSpPr>
            <a:spLocks noGrp="1"/>
          </p:cNvSpPr>
          <p:nvPr>
            <p:ph type="body" sz="quarter" idx="12"/>
          </p:nvPr>
        </p:nvSpPr>
        <p:spPr/>
        <p:txBody>
          <a:bodyPr/>
          <a:lstStyle/>
          <a:p>
            <a:r>
              <a:rPr lang="en-US" dirty="0" smtClean="0">
                <a:solidFill>
                  <a:schemeClr val="bg1"/>
                </a:solidFill>
              </a:rPr>
              <a:t>Creating an ASP.NET 5</a:t>
            </a:r>
            <a:br>
              <a:rPr lang="en-US" dirty="0" smtClean="0">
                <a:solidFill>
                  <a:schemeClr val="bg1"/>
                </a:solidFill>
              </a:rPr>
            </a:br>
            <a:r>
              <a:rPr lang="en-US" dirty="0" smtClean="0">
                <a:solidFill>
                  <a:schemeClr val="bg1"/>
                </a:solidFill>
              </a:rPr>
              <a:t>Empty Application</a:t>
            </a:r>
            <a:endParaRPr lang="en-US" dirty="0">
              <a:solidFill>
                <a:schemeClr val="bg1"/>
              </a:solidFill>
            </a:endParaRPr>
          </a:p>
        </p:txBody>
      </p:sp>
    </p:spTree>
    <p:extLst>
      <p:ext uri="{BB962C8B-B14F-4D97-AF65-F5344CB8AC3E}">
        <p14:creationId xmlns:p14="http://schemas.microsoft.com/office/powerpoint/2010/main" val="4105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5 </a:t>
            </a:r>
            <a:r>
              <a:rPr lang="en-US" dirty="0"/>
              <a:t>R</a:t>
            </a:r>
            <a:r>
              <a:rPr lang="en-US" dirty="0" smtClean="0"/>
              <a:t>esources</a:t>
            </a:r>
            <a:endParaRPr lang="en-US" dirty="0"/>
          </a:p>
        </p:txBody>
      </p:sp>
      <p:sp>
        <p:nvSpPr>
          <p:cNvPr id="3" name="Content Placeholder 2"/>
          <p:cNvSpPr>
            <a:spLocks noGrp="1"/>
          </p:cNvSpPr>
          <p:nvPr>
            <p:ph idx="1"/>
          </p:nvPr>
        </p:nvSpPr>
        <p:spPr>
          <a:prstGeom prst="rect">
            <a:avLst/>
          </a:prstGeom>
        </p:spPr>
        <p:txBody>
          <a:bodyPr/>
          <a:lstStyle/>
          <a:p>
            <a:r>
              <a:rPr lang="en-US" dirty="0" smtClean="0">
                <a:ln>
                  <a:solidFill>
                    <a:schemeClr val="bg1"/>
                  </a:solidFill>
                </a:ln>
                <a:hlinkClick r:id="rId3"/>
              </a:rPr>
              <a:t>http://www.asp.net/vnext</a:t>
            </a:r>
            <a:endParaRPr lang="en-US" dirty="0" smtClean="0">
              <a:ln>
                <a:solidFill>
                  <a:schemeClr val="bg1"/>
                </a:solidFill>
              </a:ln>
            </a:endParaRPr>
          </a:p>
          <a:p>
            <a:r>
              <a:rPr lang="en-US" dirty="0" smtClean="0">
                <a:ln>
                  <a:solidFill>
                    <a:schemeClr val="bg1"/>
                  </a:solidFill>
                </a:ln>
                <a:hlinkClick r:id="rId4"/>
              </a:rPr>
              <a:t>http</a:t>
            </a:r>
            <a:r>
              <a:rPr lang="en-US" dirty="0">
                <a:ln>
                  <a:solidFill>
                    <a:schemeClr val="bg1"/>
                  </a:solidFill>
                </a:ln>
                <a:hlinkClick r:id="rId4"/>
              </a:rPr>
              <a:t>://</a:t>
            </a:r>
            <a:r>
              <a:rPr lang="en-US" dirty="0" smtClean="0">
                <a:ln>
                  <a:solidFill>
                    <a:schemeClr val="bg1"/>
                  </a:solidFill>
                </a:ln>
                <a:hlinkClick r:id="rId4"/>
              </a:rPr>
              <a:t>www.palermo4.com/post/ASPNET-5.aspx</a:t>
            </a:r>
            <a:r>
              <a:rPr lang="en-US" dirty="0" smtClean="0">
                <a:ln>
                  <a:solidFill>
                    <a:schemeClr val="bg1"/>
                  </a:solidFill>
                </a:ln>
              </a:rPr>
              <a:t> </a:t>
            </a:r>
          </a:p>
        </p:txBody>
      </p:sp>
    </p:spTree>
    <p:extLst>
      <p:ext uri="{BB962C8B-B14F-4D97-AF65-F5344CB8AC3E}">
        <p14:creationId xmlns:p14="http://schemas.microsoft.com/office/powerpoint/2010/main" val="16998025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3B3E38"/>
        </a:solidFill>
        <a:effectLst/>
      </p:bgPr>
    </p:bg>
    <p:spTree>
      <p:nvGrpSpPr>
        <p:cNvPr id="1" name=""/>
        <p:cNvGrpSpPr/>
        <p:nvPr/>
      </p:nvGrpSpPr>
      <p:grpSpPr>
        <a:xfrm>
          <a:off x="0" y="0"/>
          <a:ext cx="0" cy="0"/>
          <a:chOff x="0" y="0"/>
          <a:chExt cx="0" cy="0"/>
        </a:xfrm>
      </p:grpSpPr>
      <p:pic>
        <p:nvPicPr>
          <p:cNvPr id="5" name="5-4-3-2-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899377" y="4142906"/>
            <a:ext cx="2743200" cy="2243254"/>
          </a:xfrm>
          <a:prstGeom prst="rect">
            <a:avLst/>
          </a:prstGeom>
        </p:spPr>
      </p:pic>
      <p:sp>
        <p:nvSpPr>
          <p:cNvPr id="6" name="Rectangle 5"/>
          <p:cNvSpPr/>
          <p:nvPr/>
        </p:nvSpPr>
        <p:spPr>
          <a:xfrm>
            <a:off x="862842" y="3035597"/>
            <a:ext cx="10710817" cy="923330"/>
          </a:xfrm>
          <a:prstGeom prst="rect">
            <a:avLst/>
          </a:prstGeom>
          <a:noFill/>
        </p:spPr>
        <p:txBody>
          <a:bodyPr wrap="none" lIns="91440" tIns="45720" rIns="91440" bIns="45720">
            <a:spAutoFit/>
          </a:bodyPr>
          <a:lstStyle/>
          <a:p>
            <a:pPr algn="ctr"/>
            <a:r>
              <a:rPr lang="en-US" sz="5400" b="1" cap="none" spc="50" dirty="0" smtClean="0">
                <a:ln w="9525" cmpd="sng">
                  <a:solidFill>
                    <a:schemeClr val="accent1"/>
                  </a:solidFill>
                  <a:prstDash val="solid"/>
                </a:ln>
                <a:solidFill>
                  <a:srgbClr val="70AD47">
                    <a:tint val="1000"/>
                  </a:srgbClr>
                </a:solidFill>
                <a:effectLst>
                  <a:glow rad="38100">
                    <a:schemeClr val="accent1">
                      <a:alpha val="40000"/>
                    </a:schemeClr>
                  </a:glow>
                </a:effectLst>
              </a:rPr>
              <a:t>As we countdown to conclude…</a:t>
            </a:r>
            <a:endParaRPr lang="en-US" sz="5400" b="1" cap="none" spc="50" dirty="0">
              <a:ln w="9525" cmpd="sng">
                <a:solidFill>
                  <a:schemeClr val="accent1"/>
                </a:solidFill>
                <a:prstDash val="solid"/>
              </a:ln>
              <a:solidFill>
                <a:srgbClr val="70AD47">
                  <a:tint val="1000"/>
                </a:srgbClr>
              </a:solidFill>
              <a:effectLst>
                <a:glow rad="38100">
                  <a:schemeClr val="accent1">
                    <a:alpha val="40000"/>
                  </a:schemeClr>
                </a:glow>
              </a:effectLst>
            </a:endParaRPr>
          </a:p>
        </p:txBody>
      </p:sp>
    </p:spTree>
    <p:extLst>
      <p:ext uri="{BB962C8B-B14F-4D97-AF65-F5344CB8AC3E}">
        <p14:creationId xmlns:p14="http://schemas.microsoft.com/office/powerpoint/2010/main" val="3676444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165"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showWhenStopped="0">
                <p:cTn id="11" fill="hold" display="0">
                  <p:stCondLst>
                    <p:cond delay="indefinite"/>
                  </p:stCondLst>
                </p:cTn>
                <p:tgtEl>
                  <p:spTgt spid="5"/>
                </p:tgtEl>
              </p:cMediaNode>
            </p:video>
            <p:seq concurrent="1" nextAc="seek">
              <p:cTn id="12" restart="whenNotActive" fill="hold" evtFilter="cancelBubble" nodeType="interactiveSeq">
                <p:stCondLst>
                  <p:cond evt="onClick" delay="0">
                    <p:tgtEl>
                      <p:spTgt spid="5"/>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5"/>
                                        </p:tgtEl>
                                      </p:cBhvr>
                                    </p:cmd>
                                  </p:childTnLst>
                                </p:cTn>
                              </p:par>
                            </p:childTnLst>
                          </p:cTn>
                        </p:par>
                      </p:childTnLst>
                    </p:cTn>
                  </p:par>
                </p:childTnLst>
              </p:cTn>
              <p:nextCondLst>
                <p:cond evt="onClick" delay="0">
                  <p:tgtEl>
                    <p:spTgt spid="5"/>
                  </p:tgtEl>
                </p:cond>
              </p:nextCondLst>
            </p:seq>
          </p:childTnLst>
        </p:cTn>
      </p:par>
    </p:tnLst>
    <p:bldLst>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a:xfrm>
            <a:off x="572844" y="2052526"/>
            <a:ext cx="11672774" cy="4299500"/>
          </a:xfrm>
        </p:spPr>
        <p:txBody>
          <a:bodyPr>
            <a:normAutofit/>
          </a:bodyPr>
          <a:lstStyle/>
          <a:p>
            <a:pPr marL="757735" indent="-757735">
              <a:lnSpc>
                <a:spcPct val="100000"/>
              </a:lnSpc>
              <a:buAutoNum type="arabicParenR"/>
            </a:pPr>
            <a:r>
              <a:rPr lang="en-US" sz="5507" dirty="0" smtClean="0">
                <a:latin typeface="+mj-lt"/>
              </a:rPr>
              <a:t>State of Affairs</a:t>
            </a:r>
            <a:endParaRPr lang="en-US" sz="5507" dirty="0">
              <a:latin typeface="+mj-lt"/>
            </a:endParaRPr>
          </a:p>
          <a:p>
            <a:pPr marL="757735" indent="-757735">
              <a:lnSpc>
                <a:spcPct val="100000"/>
              </a:lnSpc>
              <a:buAutoNum type="arabicParenR"/>
            </a:pPr>
            <a:r>
              <a:rPr lang="en-US" sz="5507" dirty="0" smtClean="0">
                <a:latin typeface="+mj-lt"/>
              </a:rPr>
              <a:t>ASP.NET 5 – New Approach</a:t>
            </a:r>
          </a:p>
          <a:p>
            <a:pPr marL="757735" indent="-757735">
              <a:lnSpc>
                <a:spcPct val="100000"/>
              </a:lnSpc>
              <a:buAutoNum type="arabicParenR"/>
            </a:pPr>
            <a:r>
              <a:rPr lang="en-US" sz="5507" dirty="0" smtClean="0">
                <a:latin typeface="+mj-lt"/>
              </a:rPr>
              <a:t>MVC 6</a:t>
            </a:r>
            <a:endParaRPr lang="en-US" sz="5507" dirty="0">
              <a:latin typeface="+mj-lt"/>
            </a:endParaRPr>
          </a:p>
          <a:p>
            <a:pPr marL="757735" indent="-757735">
              <a:lnSpc>
                <a:spcPct val="100000"/>
              </a:lnSpc>
              <a:buAutoNum type="arabicParenR"/>
            </a:pPr>
            <a:r>
              <a:rPr lang="en-US" sz="5507" dirty="0" smtClean="0">
                <a:latin typeface="+mj-lt"/>
              </a:rPr>
              <a:t>Demo</a:t>
            </a:r>
            <a:endParaRPr lang="en-US" sz="5507" dirty="0">
              <a:latin typeface="+mj-lt"/>
            </a:endParaRPr>
          </a:p>
        </p:txBody>
      </p:sp>
    </p:spTree>
    <p:extLst>
      <p:ext uri="{BB962C8B-B14F-4D97-AF65-F5344CB8AC3E}">
        <p14:creationId xmlns:p14="http://schemas.microsoft.com/office/powerpoint/2010/main" val="19773799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3B3E38"/>
        </a:solidFill>
        <a:effectLst/>
      </p:bgPr>
    </p:bg>
    <p:spTree>
      <p:nvGrpSpPr>
        <p:cNvPr id="1" name=""/>
        <p:cNvGrpSpPr/>
        <p:nvPr/>
      </p:nvGrpSpPr>
      <p:grpSpPr>
        <a:xfrm>
          <a:off x="0" y="0"/>
          <a:ext cx="0" cy="0"/>
          <a:chOff x="0" y="0"/>
          <a:chExt cx="0" cy="0"/>
        </a:xfrm>
      </p:grpSpPr>
      <p:sp>
        <p:nvSpPr>
          <p:cNvPr id="6" name="Rectangle 5"/>
          <p:cNvSpPr/>
          <p:nvPr/>
        </p:nvSpPr>
        <p:spPr>
          <a:xfrm>
            <a:off x="526062" y="3035597"/>
            <a:ext cx="11384400" cy="923330"/>
          </a:xfrm>
          <a:prstGeom prst="rect">
            <a:avLst/>
          </a:prstGeom>
          <a:noFill/>
        </p:spPr>
        <p:txBody>
          <a:bodyPr wrap="none" lIns="91440" tIns="45720" rIns="91440" bIns="45720">
            <a:spAutoFit/>
          </a:bodyPr>
          <a:lstStyle/>
          <a:p>
            <a:pPr algn="ctr"/>
            <a:r>
              <a:rPr lang="en-US" sz="5400" b="1" spc="50" dirty="0" smtClean="0">
                <a:ln w="9525" cmpd="sng">
                  <a:solidFill>
                    <a:srgbClr val="00188F"/>
                  </a:solidFill>
                  <a:prstDash val="solid"/>
                </a:ln>
                <a:solidFill>
                  <a:srgbClr val="70AD47">
                    <a:tint val="1000"/>
                  </a:srgbClr>
                </a:solidFill>
                <a:effectLst>
                  <a:glow rad="38100">
                    <a:srgbClr val="00188F">
                      <a:alpha val="40000"/>
                    </a:srgbClr>
                  </a:glow>
                </a:effectLst>
              </a:rPr>
              <a:t>…start evaluations for give-a-way</a:t>
            </a:r>
            <a:endParaRPr lang="en-US" sz="5400" b="1" spc="50" dirty="0">
              <a:ln w="9525" cmpd="sng">
                <a:solidFill>
                  <a:srgbClr val="00188F"/>
                </a:solidFill>
                <a:prstDash val="solid"/>
              </a:ln>
              <a:solidFill>
                <a:srgbClr val="70AD47">
                  <a:tint val="1000"/>
                </a:srgbClr>
              </a:solidFill>
              <a:effectLst>
                <a:glow rad="38100">
                  <a:srgbClr val="00188F">
                    <a:alpha val="40000"/>
                  </a:srgbClr>
                </a:glow>
              </a:effectLst>
            </a:endParaRPr>
          </a:p>
        </p:txBody>
      </p:sp>
    </p:spTree>
    <p:extLst>
      <p:ext uri="{BB962C8B-B14F-4D97-AF65-F5344CB8AC3E}">
        <p14:creationId xmlns:p14="http://schemas.microsoft.com/office/powerpoint/2010/main" val="73678007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0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501" y="0"/>
                        <a:ext cx="161910" cy="161910"/>
                      </a:xfrm>
                      <a:prstGeom prst="rect">
                        <a:avLst/>
                      </a:prstGeom>
                    </p:spPr>
                  </p:pic>
                </p:oleObj>
              </mc:Fallback>
            </mc:AlternateContent>
          </a:graphicData>
        </a:graphic>
      </p:graphicFrame>
      <p:sp>
        <p:nvSpPr>
          <p:cNvPr id="7" name="Title 6"/>
          <p:cNvSpPr>
            <a:spLocks noGrp="1"/>
          </p:cNvSpPr>
          <p:nvPr>
            <p:ph type="title"/>
          </p:nvPr>
        </p:nvSpPr>
        <p:spPr>
          <a:xfrm>
            <a:off x="531949" y="233152"/>
            <a:ext cx="11370961" cy="762786"/>
          </a:xfrm>
        </p:spPr>
        <p:txBody>
          <a:bodyPr>
            <a:normAutofit fontScale="90000"/>
          </a:bodyPr>
          <a:lstStyle/>
          <a:p>
            <a:r>
              <a:rPr lang="en-US" dirty="0" smtClean="0"/>
              <a:t>What we learned today</a:t>
            </a:r>
            <a:endParaRPr lang="en-US" dirty="0"/>
          </a:p>
        </p:txBody>
      </p:sp>
      <p:graphicFrame>
        <p:nvGraphicFramePr>
          <p:cNvPr id="4" name="Diagram 3"/>
          <p:cNvGraphicFramePr/>
          <p:nvPr>
            <p:extLst/>
          </p:nvPr>
        </p:nvGraphicFramePr>
        <p:xfrm>
          <a:off x="531949" y="1496770"/>
          <a:ext cx="11370961" cy="19220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1572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gray">
          <a:xfrm>
            <a:off x="752148" y="4790406"/>
            <a:ext cx="10612677" cy="1495964"/>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51" fontAlgn="base">
              <a:spcBef>
                <a:spcPct val="0"/>
              </a:spcBef>
              <a:spcAft>
                <a:spcPct val="0"/>
              </a:spcAft>
              <a:defRPr/>
            </a:pPr>
            <a:r>
              <a:rPr lang="en-US" sz="5507"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507"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6" name="Rectangle 25"/>
          <p:cNvSpPr/>
          <p:nvPr/>
        </p:nvSpPr>
        <p:spPr bwMode="gray">
          <a:xfrm>
            <a:off x="752147" y="3206002"/>
            <a:ext cx="1654191" cy="1474722"/>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51" fontAlgn="base">
              <a:spcBef>
                <a:spcPct val="0"/>
              </a:spcBef>
              <a:spcAft>
                <a:spcPct val="0"/>
              </a:spcAft>
              <a:defRPr/>
            </a:pPr>
            <a:r>
              <a:rPr lang="en-US" sz="3672"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32251" fontAlgn="base">
              <a:spcBef>
                <a:spcPct val="0"/>
              </a:spcBef>
              <a:spcAft>
                <a:spcPct val="0"/>
              </a:spcAft>
              <a:defRPr/>
            </a:pPr>
            <a:r>
              <a:rPr lang="en-US" sz="3672"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72"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7" name="Rectangle 26"/>
          <p:cNvSpPr/>
          <p:nvPr/>
        </p:nvSpPr>
        <p:spPr bwMode="gray">
          <a:xfrm>
            <a:off x="752146" y="1537533"/>
            <a:ext cx="6718198" cy="1558789"/>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51" fontAlgn="base">
              <a:spcBef>
                <a:spcPct val="0"/>
              </a:spcBef>
              <a:spcAft>
                <a:spcPct val="0"/>
              </a:spcAft>
              <a:defRPr/>
            </a:pPr>
            <a:r>
              <a:rPr lang="en-US" sz="5507"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507"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0" name="Rectangle 29"/>
          <p:cNvSpPr/>
          <p:nvPr/>
        </p:nvSpPr>
        <p:spPr bwMode="gray">
          <a:xfrm>
            <a:off x="2543845" y="3206002"/>
            <a:ext cx="1654191" cy="1474722"/>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51" fontAlgn="base">
              <a:spcBef>
                <a:spcPct val="0"/>
              </a:spcBef>
              <a:spcAft>
                <a:spcPct val="0"/>
              </a:spcAft>
              <a:defRPr/>
            </a:pPr>
            <a:r>
              <a:rPr lang="en-US" sz="3672"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32251" fontAlgn="base">
              <a:spcBef>
                <a:spcPct val="0"/>
              </a:spcBef>
              <a:spcAft>
                <a:spcPct val="0"/>
              </a:spcAft>
              <a:defRPr/>
            </a:pPr>
            <a:r>
              <a:rPr lang="en-US" sz="3672"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72"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1" name="Rectangle 30"/>
          <p:cNvSpPr/>
          <p:nvPr/>
        </p:nvSpPr>
        <p:spPr bwMode="gray">
          <a:xfrm>
            <a:off x="4335540" y="3206002"/>
            <a:ext cx="5237585" cy="621101"/>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51" fontAlgn="base">
              <a:spcBef>
                <a:spcPct val="0"/>
              </a:spcBef>
              <a:spcAft>
                <a:spcPct val="0"/>
              </a:spcAft>
              <a:defRPr/>
            </a:pPr>
            <a:r>
              <a:rPr lang="en-US" sz="3672"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72"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2" name="Rectangle 31"/>
          <p:cNvSpPr/>
          <p:nvPr/>
        </p:nvSpPr>
        <p:spPr bwMode="gray">
          <a:xfrm>
            <a:off x="4335541" y="3936786"/>
            <a:ext cx="3134803" cy="74393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51" fontAlgn="base">
              <a:spcBef>
                <a:spcPct val="0"/>
              </a:spcBef>
              <a:spcAft>
                <a:spcPct val="0"/>
              </a:spcAft>
              <a:defRPr/>
            </a:pPr>
            <a:r>
              <a:rPr lang="en-US" sz="3672"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72"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3" name="Rectangle 32"/>
          <p:cNvSpPr/>
          <p:nvPr/>
        </p:nvSpPr>
        <p:spPr bwMode="gray">
          <a:xfrm>
            <a:off x="7607851" y="3936786"/>
            <a:ext cx="1965276" cy="74393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51" fontAlgn="base">
              <a:spcBef>
                <a:spcPct val="0"/>
              </a:spcBef>
              <a:spcAft>
                <a:spcPct val="0"/>
              </a:spcAft>
              <a:defRPr/>
            </a:pPr>
            <a:r>
              <a:rPr lang="en-US" sz="3264"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64"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4" name="Rectangle 33"/>
          <p:cNvSpPr/>
          <p:nvPr/>
        </p:nvSpPr>
        <p:spPr bwMode="gray">
          <a:xfrm>
            <a:off x="9710635" y="3206002"/>
            <a:ext cx="1654191" cy="1474722"/>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51" fontAlgn="base">
              <a:spcBef>
                <a:spcPct val="0"/>
              </a:spcBef>
              <a:spcAft>
                <a:spcPct val="0"/>
              </a:spcAft>
              <a:defRPr/>
            </a:pPr>
            <a:r>
              <a:rPr lang="en-US" sz="3672"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72"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607852" y="1537534"/>
            <a:ext cx="3756974" cy="1558789"/>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51" fontAlgn="base">
              <a:spcBef>
                <a:spcPct val="0"/>
              </a:spcBef>
              <a:spcAft>
                <a:spcPct val="0"/>
              </a:spcAft>
              <a:defRPr/>
            </a:pPr>
            <a:r>
              <a:rPr lang="en-US" sz="5507" b="1"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507" kern="0" spc="-52"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13" name="Title 6"/>
          <p:cNvSpPr>
            <a:spLocks noGrp="1"/>
          </p:cNvSpPr>
          <p:nvPr>
            <p:ph type="title"/>
          </p:nvPr>
        </p:nvSpPr>
        <p:spPr>
          <a:xfrm>
            <a:off x="531949" y="233152"/>
            <a:ext cx="11370961" cy="762786"/>
          </a:xfrm>
        </p:spPr>
        <p:txBody>
          <a:bodyPr>
            <a:normAutofit fontScale="90000"/>
          </a:bodyPr>
          <a:lstStyle/>
          <a:p>
            <a:r>
              <a:rPr lang="en-US" dirty="0" smtClean="0"/>
              <a:t>What we learned today</a:t>
            </a:r>
            <a:endParaRPr lang="en-US" dirty="0"/>
          </a:p>
        </p:txBody>
      </p:sp>
    </p:spTree>
    <p:extLst>
      <p:ext uri="{BB962C8B-B14F-4D97-AF65-F5344CB8AC3E}">
        <p14:creationId xmlns:p14="http://schemas.microsoft.com/office/powerpoint/2010/main" val="1184493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20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501" y="0"/>
                        <a:ext cx="161910" cy="161910"/>
                      </a:xfrm>
                      <a:prstGeom prst="rect">
                        <a:avLst/>
                      </a:prstGeom>
                    </p:spPr>
                  </p:pic>
                </p:oleObj>
              </mc:Fallback>
            </mc:AlternateContent>
          </a:graphicData>
        </a:graphic>
      </p:graphicFrame>
      <p:sp>
        <p:nvSpPr>
          <p:cNvPr id="7" name="Title 6"/>
          <p:cNvSpPr>
            <a:spLocks noGrp="1"/>
          </p:cNvSpPr>
          <p:nvPr>
            <p:ph type="title"/>
          </p:nvPr>
        </p:nvSpPr>
        <p:spPr>
          <a:xfrm>
            <a:off x="531949" y="233152"/>
            <a:ext cx="11370961" cy="762786"/>
          </a:xfrm>
        </p:spPr>
        <p:txBody>
          <a:bodyPr>
            <a:normAutofit fontScale="90000"/>
          </a:bodyPr>
          <a:lstStyle/>
          <a:p>
            <a:r>
              <a:rPr lang="en-US" dirty="0"/>
              <a:t>What we learned today</a:t>
            </a:r>
          </a:p>
        </p:txBody>
      </p:sp>
      <p:graphicFrame>
        <p:nvGraphicFramePr>
          <p:cNvPr id="8" name="Diagram 7"/>
          <p:cNvGraphicFramePr/>
          <p:nvPr>
            <p:extLst/>
          </p:nvPr>
        </p:nvGraphicFramePr>
        <p:xfrm>
          <a:off x="531949" y="1217566"/>
          <a:ext cx="11370961" cy="50861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9786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graphicEl>
                                              <a:dgm id="{0890763D-4DAB-412B-8174-6F5ADECA768A}"/>
                                            </p:graphicEl>
                                          </p:spTgt>
                                        </p:tgtEl>
                                        <p:attrNameLst>
                                          <p:attrName>style.visibility</p:attrName>
                                        </p:attrNameLst>
                                      </p:cBhvr>
                                      <p:to>
                                        <p:strVal val="visible"/>
                                      </p:to>
                                    </p:set>
                                    <p:animEffect transition="in" filter="fade">
                                      <p:cBhvr>
                                        <p:cTn id="50" dur="500"/>
                                        <p:tgtEl>
                                          <p:spTgt spid="8">
                                            <p:graphicEl>
                                              <a:dgm id="{0890763D-4DAB-412B-8174-6F5ADECA768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
                                            <p:graphicEl>
                                              <a:dgm id="{3CDC6EAF-654A-40F3-B5C2-E5916E974EC3}"/>
                                            </p:graphicEl>
                                          </p:spTgt>
                                        </p:tgtEl>
                                        <p:attrNameLst>
                                          <p:attrName>style.visibility</p:attrName>
                                        </p:attrNameLst>
                                      </p:cBhvr>
                                      <p:to>
                                        <p:strVal val="visible"/>
                                      </p:to>
                                    </p:set>
                                    <p:animEffect transition="in" filter="fade">
                                      <p:cBhvr>
                                        <p:cTn id="53" dur="500"/>
                                        <p:tgtEl>
                                          <p:spTgt spid="8">
                                            <p:graphicEl>
                                              <a:dgm id="{3CDC6EAF-654A-40F3-B5C2-E5916E974EC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30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501" y="0"/>
                        <a:ext cx="161910" cy="161910"/>
                      </a:xfrm>
                      <a:prstGeom prst="rect">
                        <a:avLst/>
                      </a:prstGeom>
                    </p:spPr>
                  </p:pic>
                </p:oleObj>
              </mc:Fallback>
            </mc:AlternateContent>
          </a:graphicData>
        </a:graphic>
      </p:graphicFrame>
      <p:sp>
        <p:nvSpPr>
          <p:cNvPr id="7" name="Title 6"/>
          <p:cNvSpPr>
            <a:spLocks noGrp="1"/>
          </p:cNvSpPr>
          <p:nvPr>
            <p:ph type="title"/>
          </p:nvPr>
        </p:nvSpPr>
        <p:spPr>
          <a:xfrm>
            <a:off x="530329" y="213800"/>
            <a:ext cx="11380674" cy="762786"/>
          </a:xfrm>
          <a:prstGeom prst="rect">
            <a:avLst/>
          </a:prstGeom>
        </p:spPr>
        <p:txBody>
          <a:bodyPr>
            <a:normAutofit fontScale="90000"/>
          </a:bodyPr>
          <a:lstStyle/>
          <a:p>
            <a:r>
              <a:rPr lang="en-US" dirty="0" smtClean="0"/>
              <a:t>What you can do next</a:t>
            </a:r>
            <a:endParaRPr lang="en-US" dirty="0"/>
          </a:p>
        </p:txBody>
      </p:sp>
      <p:grpSp>
        <p:nvGrpSpPr>
          <p:cNvPr id="20" name="Group 19"/>
          <p:cNvGrpSpPr/>
          <p:nvPr/>
        </p:nvGrpSpPr>
        <p:grpSpPr>
          <a:xfrm>
            <a:off x="947270" y="1882736"/>
            <a:ext cx="3128401" cy="3237200"/>
            <a:chOff x="926328" y="1845986"/>
            <a:chExt cx="3067338" cy="3174014"/>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6509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sz="4080" dirty="0"/>
                <a:t>Build</a:t>
              </a:r>
            </a:p>
          </p:txBody>
        </p:sp>
      </p:grpSp>
      <p:grpSp>
        <p:nvGrpSpPr>
          <p:cNvPr id="16" name="Group 15"/>
          <p:cNvGrpSpPr/>
          <p:nvPr/>
        </p:nvGrpSpPr>
        <p:grpSpPr>
          <a:xfrm>
            <a:off x="4304472" y="1882736"/>
            <a:ext cx="3399681" cy="3237200"/>
            <a:chOff x="4218000" y="1845986"/>
            <a:chExt cx="3333323" cy="3174014"/>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6509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sz="4080" dirty="0"/>
                <a:t>Contribute</a:t>
              </a:r>
            </a:p>
          </p:txBody>
        </p:sp>
      </p:grpSp>
      <p:grpSp>
        <p:nvGrpSpPr>
          <p:cNvPr id="9" name="Group 8"/>
          <p:cNvGrpSpPr/>
          <p:nvPr/>
        </p:nvGrpSpPr>
        <p:grpSpPr>
          <a:xfrm>
            <a:off x="7450191" y="1762824"/>
            <a:ext cx="4208838" cy="3345410"/>
            <a:chOff x="7302320" y="1728416"/>
            <a:chExt cx="4126686" cy="3280111"/>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6509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sz="4080" dirty="0"/>
                <a:t>Grow</a:t>
              </a:r>
            </a:p>
          </p:txBody>
        </p:sp>
      </p:grpSp>
    </p:spTree>
    <p:extLst>
      <p:ext uri="{BB962C8B-B14F-4D97-AF65-F5344CB8AC3E}">
        <p14:creationId xmlns:p14="http://schemas.microsoft.com/office/powerpoint/2010/main" val="29535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89959143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31948" y="1203164"/>
            <a:ext cx="11370961" cy="3861015"/>
          </a:xfrm>
        </p:spPr>
        <p:txBody>
          <a:bodyPr>
            <a:normAutofit lnSpcReduction="10000"/>
          </a:bodyPr>
          <a:lstStyle/>
          <a:p>
            <a:r>
              <a:rPr lang="en-US" sz="4896" dirty="0">
                <a:solidFill>
                  <a:schemeClr val="bg1"/>
                </a:solidFill>
              </a:rPr>
              <a:t>http://www.asp.net/feedback</a:t>
            </a:r>
          </a:p>
          <a:p>
            <a:endParaRPr lang="en-US" sz="4896" dirty="0">
              <a:solidFill>
                <a:schemeClr val="bg1"/>
              </a:solidFill>
            </a:endParaRPr>
          </a:p>
          <a:p>
            <a:r>
              <a:rPr lang="en-US" sz="4896" dirty="0">
                <a:solidFill>
                  <a:schemeClr val="bg1"/>
                </a:solidFill>
              </a:rPr>
              <a:t>Twitter - @</a:t>
            </a:r>
            <a:r>
              <a:rPr lang="en-US" sz="4896" dirty="0" err="1">
                <a:solidFill>
                  <a:schemeClr val="bg1"/>
                </a:solidFill>
              </a:rPr>
              <a:t>aspnet</a:t>
            </a:r>
            <a:endParaRPr lang="en-US" sz="4896" dirty="0">
              <a:solidFill>
                <a:schemeClr val="bg1"/>
              </a:solidFill>
            </a:endParaRPr>
          </a:p>
          <a:p>
            <a:r>
              <a:rPr lang="en-US" sz="4896" dirty="0">
                <a:solidFill>
                  <a:schemeClr val="bg1"/>
                </a:solidFill>
              </a:rPr>
              <a:t>Facebook - /ASPNET</a:t>
            </a:r>
          </a:p>
          <a:p>
            <a:r>
              <a:rPr lang="en-US" sz="4896" dirty="0">
                <a:solidFill>
                  <a:schemeClr val="bg1"/>
                </a:solidFill>
              </a:rPr>
              <a:t>G+ - ASP.NET</a:t>
            </a:r>
          </a:p>
        </p:txBody>
      </p:sp>
    </p:spTree>
    <p:extLst>
      <p:ext uri="{BB962C8B-B14F-4D97-AF65-F5344CB8AC3E}">
        <p14:creationId xmlns:p14="http://schemas.microsoft.com/office/powerpoint/2010/main" val="114236871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31949" y="1476622"/>
            <a:ext cx="11370961" cy="4157654"/>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86111" indent="-582873">
              <a:buFont typeface="Arial" panose="020B0604020202020204" pitchFamily="34" charset="0"/>
              <a:buChar char="•"/>
            </a:pPr>
            <a:endParaRPr lang="en-US" sz="2448" dirty="0"/>
          </a:p>
          <a:p>
            <a:pPr marL="586111" indent="-582873">
              <a:buFont typeface="Arial" panose="020B0604020202020204" pitchFamily="34" charset="0"/>
              <a:buChar char="•"/>
            </a:pPr>
            <a:endParaRPr lang="en-US" sz="2448" dirty="0"/>
          </a:p>
          <a:p>
            <a:pPr marL="586111" indent="-582873">
              <a:buFont typeface="Arial" panose="020B0604020202020204" pitchFamily="34" charset="0"/>
              <a:buChar char="•"/>
            </a:pPr>
            <a:endParaRPr lang="en-US" sz="2448" dirty="0"/>
          </a:p>
          <a:p>
            <a:pPr marL="586111" indent="-582873">
              <a:buFont typeface="Arial" panose="020B0604020202020204" pitchFamily="34" charset="0"/>
              <a:buChar char="•"/>
            </a:pPr>
            <a:endParaRPr lang="en-US" sz="2448" dirty="0"/>
          </a:p>
          <a:p>
            <a:pPr marL="586111" indent="-582873">
              <a:buFont typeface="Arial" panose="020B0604020202020204" pitchFamily="34" charset="0"/>
              <a:buChar char="•"/>
            </a:pPr>
            <a:endParaRPr lang="en-US" sz="2448" dirty="0"/>
          </a:p>
        </p:txBody>
      </p:sp>
    </p:spTree>
    <p:extLst>
      <p:ext uri="{BB962C8B-B14F-4D97-AF65-F5344CB8AC3E}">
        <p14:creationId xmlns:p14="http://schemas.microsoft.com/office/powerpoint/2010/main" val="79491593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Azure</a:t>
            </a:r>
            <a:endParaRPr lang="en-US" dirty="0"/>
          </a:p>
        </p:txBody>
      </p:sp>
      <p:sp>
        <p:nvSpPr>
          <p:cNvPr id="3" name="Text Placeholder 2"/>
          <p:cNvSpPr>
            <a:spLocks noGrp="1"/>
          </p:cNvSpPr>
          <p:nvPr>
            <p:ph type="body" sz="quarter" idx="10"/>
          </p:nvPr>
        </p:nvSpPr>
        <p:spPr>
          <a:xfrm>
            <a:off x="531949" y="1476622"/>
            <a:ext cx="11370961" cy="4101151"/>
          </a:xfrm>
        </p:spPr>
        <p:txBody>
          <a:bodyPr/>
          <a:lstStyle/>
          <a:p>
            <a:r>
              <a:rPr lang="en-US" b="0" smtClean="0">
                <a:solidFill>
                  <a:schemeClr val="bg1"/>
                </a:solidFill>
              </a:rPr>
              <a:t>http://azure.microsoft.com</a:t>
            </a:r>
            <a:endParaRPr lang="en-US" sz="2448" dirty="0">
              <a:solidFill>
                <a:schemeClr val="bg1"/>
              </a:solidFill>
            </a:endParaRPr>
          </a:p>
          <a:p>
            <a:pPr marL="586111" indent="-582873">
              <a:buFont typeface="Arial" panose="020B0604020202020204" pitchFamily="34" charset="0"/>
              <a:buChar char="•"/>
            </a:pPr>
            <a:endParaRPr lang="en-US" sz="2448" dirty="0"/>
          </a:p>
          <a:p>
            <a:pPr marL="586111" indent="-582873">
              <a:buFont typeface="Arial" panose="020B0604020202020204" pitchFamily="34" charset="0"/>
              <a:buChar char="•"/>
            </a:pPr>
            <a:endParaRPr lang="en-US" sz="2448" dirty="0"/>
          </a:p>
          <a:p>
            <a:pPr marL="586111" indent="-582873">
              <a:buFont typeface="Arial" panose="020B0604020202020204" pitchFamily="34" charset="0"/>
              <a:buChar char="•"/>
            </a:pPr>
            <a:endParaRPr lang="en-US" sz="2448" dirty="0"/>
          </a:p>
          <a:p>
            <a:pPr marL="586111" indent="-582873">
              <a:buFont typeface="Arial" panose="020B0604020202020204" pitchFamily="34" charset="0"/>
              <a:buChar char="•"/>
            </a:pPr>
            <a:endParaRPr lang="en-US" sz="2448" dirty="0"/>
          </a:p>
        </p:txBody>
      </p:sp>
    </p:spTree>
    <p:extLst>
      <p:ext uri="{BB962C8B-B14F-4D97-AF65-F5344CB8AC3E}">
        <p14:creationId xmlns:p14="http://schemas.microsoft.com/office/powerpoint/2010/main" val="416784053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1808251" y="1415095"/>
            <a:ext cx="8819972" cy="5396471"/>
          </a:xfrm>
          <a:prstGeom prst="rect">
            <a:avLst/>
          </a:prstGeom>
        </p:spPr>
      </p:pic>
    </p:spTree>
    <p:extLst>
      <p:ext uri="{BB962C8B-B14F-4D97-AF65-F5344CB8AC3E}">
        <p14:creationId xmlns:p14="http://schemas.microsoft.com/office/powerpoint/2010/main" val="22739309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1" r="8310" b="17491"/>
          <a:stretch/>
        </p:blipFill>
        <p:spPr>
          <a:xfrm>
            <a:off x="0" y="0"/>
            <a:ext cx="12436473" cy="6994525"/>
          </a:xfrm>
          <a:prstGeom prst="rect">
            <a:avLst/>
          </a:prstGeom>
        </p:spPr>
      </p:pic>
      <p:sp>
        <p:nvSpPr>
          <p:cNvPr id="10" name="Rectangle 9"/>
          <p:cNvSpPr/>
          <p:nvPr/>
        </p:nvSpPr>
        <p:spPr bwMode="auto">
          <a:xfrm>
            <a:off x="4722132" y="3529087"/>
            <a:ext cx="7452360" cy="1999165"/>
          </a:xfrm>
          <a:prstGeom prst="rect">
            <a:avLst/>
          </a:prstGeom>
          <a:solidFill>
            <a:schemeClr val="tx1">
              <a:lumMod val="60000"/>
              <a:lumOff val="4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724887" y="1470871"/>
            <a:ext cx="7452360" cy="1999165"/>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274638" y="1459650"/>
            <a:ext cx="4389438" cy="4075226"/>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274640" y="1459649"/>
            <a:ext cx="4389436" cy="3918294"/>
            <a:chOff x="274640" y="1459649"/>
            <a:chExt cx="4389436" cy="3918294"/>
          </a:xfrm>
        </p:grpSpPr>
        <p:sp>
          <p:nvSpPr>
            <p:cNvPr id="4" name="TextBox 3"/>
            <p:cNvSpPr txBox="1"/>
            <p:nvPr/>
          </p:nvSpPr>
          <p:spPr>
            <a:xfrm>
              <a:off x="274640" y="3586683"/>
              <a:ext cx="4389436" cy="1791260"/>
            </a:xfrm>
            <a:prstGeom prst="rect">
              <a:avLst/>
            </a:prstGeom>
            <a:noFill/>
          </p:spPr>
          <p:txBody>
            <a:bodyPr wrap="square" lIns="182880" tIns="146304" rIns="182880" bIns="146304" rtlCol="0">
              <a:spAutoFit/>
            </a:bodyPr>
            <a:lstStyle/>
            <a:p>
              <a:pPr>
                <a:lnSpc>
                  <a:spcPct val="90000"/>
                </a:lnSpc>
                <a:spcAft>
                  <a:spcPts val="600"/>
                </a:spcAft>
              </a:pPr>
              <a:r>
                <a:rPr lang="en-US" sz="5400" dirty="0" smtClean="0">
                  <a:gradFill>
                    <a:gsLst>
                      <a:gs pos="72566">
                        <a:srgbClr val="FFFFFF"/>
                      </a:gs>
                      <a:gs pos="30000">
                        <a:srgbClr val="FFFFFF"/>
                      </a:gs>
                    </a:gsLst>
                    <a:lin ang="5400000" scaled="0"/>
                  </a:gradFill>
                  <a:latin typeface="Segoe UI Light"/>
                </a:rPr>
                <a:t>active installs </a:t>
              </a:r>
              <a:br>
                <a:rPr lang="en-US" sz="5400" dirty="0" smtClean="0">
                  <a:gradFill>
                    <a:gsLst>
                      <a:gs pos="72566">
                        <a:srgbClr val="FFFFFF"/>
                      </a:gs>
                      <a:gs pos="30000">
                        <a:srgbClr val="FFFFFF"/>
                      </a:gs>
                    </a:gsLst>
                    <a:lin ang="5400000" scaled="0"/>
                  </a:gradFill>
                  <a:latin typeface="Segoe UI Light"/>
                </a:rPr>
              </a:br>
              <a:r>
                <a:rPr lang="en-US" sz="5400" dirty="0" smtClean="0">
                  <a:gradFill>
                    <a:gsLst>
                      <a:gs pos="72566">
                        <a:srgbClr val="FFFFFF"/>
                      </a:gs>
                      <a:gs pos="30000">
                        <a:srgbClr val="FFFFFF"/>
                      </a:gs>
                    </a:gsLst>
                    <a:lin ang="5400000" scaled="0"/>
                  </a:gradFill>
                  <a:latin typeface="Segoe UI Light"/>
                </a:rPr>
                <a:t>of .NET</a:t>
              </a:r>
            </a:p>
          </p:txBody>
        </p:sp>
        <p:sp>
          <p:nvSpPr>
            <p:cNvPr id="2" name="TextBox 1"/>
            <p:cNvSpPr txBox="1"/>
            <p:nvPr/>
          </p:nvSpPr>
          <p:spPr>
            <a:xfrm>
              <a:off x="274640" y="1459649"/>
              <a:ext cx="3798886" cy="2594556"/>
            </a:xfrm>
            <a:prstGeom prst="rect">
              <a:avLst/>
            </a:prstGeom>
            <a:noFill/>
          </p:spPr>
          <p:txBody>
            <a:bodyPr wrap="square" lIns="182880" tIns="146304" rIns="182880" bIns="146304" rtlCol="0">
              <a:spAutoFit/>
            </a:bodyPr>
            <a:lstStyle/>
            <a:p>
              <a:pPr algn="ctr">
                <a:lnSpc>
                  <a:spcPct val="90000"/>
                </a:lnSpc>
                <a:spcAft>
                  <a:spcPts val="600"/>
                </a:spcAft>
              </a:pPr>
              <a:r>
                <a:rPr lang="en-US" sz="16600" spc="-500" dirty="0" smtClean="0">
                  <a:gradFill>
                    <a:gsLst>
                      <a:gs pos="72566">
                        <a:srgbClr val="FFFFFF"/>
                      </a:gs>
                      <a:gs pos="30000">
                        <a:srgbClr val="FFFFFF"/>
                      </a:gs>
                    </a:gsLst>
                    <a:lin ang="5400000" scaled="0"/>
                  </a:gradFill>
                  <a:latin typeface="Segoe UI Light"/>
                </a:rPr>
                <a:t>1.8B</a:t>
              </a:r>
            </a:p>
          </p:txBody>
        </p:sp>
      </p:grpSp>
      <p:grpSp>
        <p:nvGrpSpPr>
          <p:cNvPr id="16" name="Group 15"/>
          <p:cNvGrpSpPr/>
          <p:nvPr/>
        </p:nvGrpSpPr>
        <p:grpSpPr>
          <a:xfrm>
            <a:off x="4708294" y="3584565"/>
            <a:ext cx="12465055" cy="1888209"/>
            <a:chOff x="4708294" y="1515126"/>
            <a:chExt cx="12465055" cy="1888209"/>
          </a:xfrm>
        </p:grpSpPr>
        <p:sp>
          <p:nvSpPr>
            <p:cNvPr id="8" name="TextBox 7"/>
            <p:cNvSpPr txBox="1"/>
            <p:nvPr/>
          </p:nvSpPr>
          <p:spPr>
            <a:xfrm>
              <a:off x="6952343" y="1757500"/>
              <a:ext cx="10221006" cy="1403461"/>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gradFill>
                    <a:gsLst>
                      <a:gs pos="72566">
                        <a:schemeClr val="bg2"/>
                      </a:gs>
                      <a:gs pos="30000">
                        <a:schemeClr val="bg2"/>
                      </a:gs>
                    </a:gsLst>
                    <a:lin ang="5400000" scaled="0"/>
                  </a:gradFill>
                  <a:latin typeface="+mj-lt"/>
                </a:defRPr>
              </a:lvl1pPr>
            </a:lstStyle>
            <a:p>
              <a:r>
                <a:rPr lang="en-US" sz="4000" dirty="0" smtClean="0">
                  <a:gradFill>
                    <a:gsLst>
                      <a:gs pos="72566">
                        <a:srgbClr val="FFFFFF"/>
                      </a:gs>
                      <a:gs pos="30000">
                        <a:srgbClr val="FFFFFF"/>
                      </a:gs>
                    </a:gsLst>
                    <a:lin ang="5400000" scaled="0"/>
                  </a:gradFill>
                </a:rPr>
                <a:t>.</a:t>
              </a:r>
              <a:r>
                <a:rPr lang="en-US" sz="4000" dirty="0">
                  <a:gradFill>
                    <a:gsLst>
                      <a:gs pos="72566">
                        <a:srgbClr val="FFFFFF"/>
                      </a:gs>
                      <a:gs pos="30000">
                        <a:srgbClr val="FFFFFF"/>
                      </a:gs>
                    </a:gsLst>
                    <a:lin ang="5400000" scaled="0"/>
                  </a:gradFill>
                </a:rPr>
                <a:t>NET </a:t>
              </a:r>
              <a:r>
                <a:rPr lang="en-US" sz="4000" dirty="0" smtClean="0">
                  <a:gradFill>
                    <a:gsLst>
                      <a:gs pos="72566">
                        <a:srgbClr val="FFFFFF"/>
                      </a:gs>
                      <a:gs pos="30000">
                        <a:srgbClr val="FFFFFF"/>
                      </a:gs>
                    </a:gsLst>
                    <a:lin ang="5400000" scaled="0"/>
                  </a:gradFill>
                </a:rPr>
                <a:t>professional </a:t>
              </a:r>
              <a:br>
                <a:rPr lang="en-US" sz="4000" dirty="0" smtClean="0">
                  <a:gradFill>
                    <a:gsLst>
                      <a:gs pos="72566">
                        <a:srgbClr val="FFFFFF"/>
                      </a:gs>
                      <a:gs pos="30000">
                        <a:srgbClr val="FFFFFF"/>
                      </a:gs>
                    </a:gsLst>
                    <a:lin ang="5400000" scaled="0"/>
                  </a:gradFill>
                </a:rPr>
              </a:br>
              <a:r>
                <a:rPr lang="en-US" sz="4000" dirty="0" smtClean="0">
                  <a:gradFill>
                    <a:gsLst>
                      <a:gs pos="72566">
                        <a:srgbClr val="FFFFFF"/>
                      </a:gs>
                      <a:gs pos="30000">
                        <a:srgbClr val="FFFFFF"/>
                      </a:gs>
                    </a:gsLst>
                    <a:lin ang="5400000" scaled="0"/>
                  </a:gradFill>
                </a:rPr>
                <a:t>developers</a:t>
              </a:r>
              <a:endParaRPr lang="en-US" sz="4000" dirty="0">
                <a:gradFill>
                  <a:gsLst>
                    <a:gs pos="72566">
                      <a:srgbClr val="FFFFFF"/>
                    </a:gs>
                    <a:gs pos="30000">
                      <a:srgbClr val="FFFFFF"/>
                    </a:gs>
                  </a:gsLst>
                  <a:lin ang="5400000" scaled="0"/>
                </a:gradFill>
              </a:endParaRPr>
            </a:p>
          </p:txBody>
        </p:sp>
        <p:sp>
          <p:nvSpPr>
            <p:cNvPr id="11" name="TextBox 10"/>
            <p:cNvSpPr txBox="1"/>
            <p:nvPr/>
          </p:nvSpPr>
          <p:spPr>
            <a:xfrm>
              <a:off x="4708294" y="1515126"/>
              <a:ext cx="2374679" cy="1888209"/>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gradFill>
                    <a:gsLst>
                      <a:gs pos="72566">
                        <a:schemeClr val="bg2"/>
                      </a:gs>
                      <a:gs pos="30000">
                        <a:schemeClr val="bg2"/>
                      </a:gs>
                    </a:gsLst>
                    <a:lin ang="5400000" scaled="0"/>
                  </a:gradFill>
                  <a:latin typeface="+mj-lt"/>
                </a:defRPr>
              </a:lvl1pPr>
            </a:lstStyle>
            <a:p>
              <a:r>
                <a:rPr lang="en-US" sz="11500" dirty="0">
                  <a:gradFill>
                    <a:gsLst>
                      <a:gs pos="72566">
                        <a:srgbClr val="FFFFFF"/>
                      </a:gs>
                      <a:gs pos="30000">
                        <a:srgbClr val="FFFFFF"/>
                      </a:gs>
                    </a:gsLst>
                    <a:lin ang="5400000" scaled="0"/>
                  </a:gradFill>
                </a:rPr>
                <a:t>6M</a:t>
              </a:r>
            </a:p>
          </p:txBody>
        </p:sp>
      </p:grpSp>
      <p:sp>
        <p:nvSpPr>
          <p:cNvPr id="14" name="TextBox 13"/>
          <p:cNvSpPr txBox="1"/>
          <p:nvPr/>
        </p:nvSpPr>
        <p:spPr>
          <a:xfrm>
            <a:off x="4724886" y="1491724"/>
            <a:ext cx="7257143" cy="1957459"/>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gradFill>
                  <a:gsLst>
                    <a:gs pos="72566">
                      <a:schemeClr val="bg2"/>
                    </a:gs>
                    <a:gs pos="30000">
                      <a:schemeClr val="bg2"/>
                    </a:gs>
                  </a:gsLst>
                  <a:lin ang="5400000" scaled="0"/>
                </a:gradFill>
                <a:latin typeface="+mj-lt"/>
              </a:defRPr>
            </a:lvl1pPr>
          </a:lstStyle>
          <a:p>
            <a:r>
              <a:rPr lang="en-US" sz="4000" dirty="0">
                <a:gradFill>
                  <a:gsLst>
                    <a:gs pos="72566">
                      <a:srgbClr val="FFFFFF"/>
                    </a:gs>
                    <a:gs pos="30000">
                      <a:srgbClr val="FFFFFF"/>
                    </a:gs>
                  </a:gsLst>
                  <a:lin ang="5400000" scaled="0"/>
                </a:gradFill>
              </a:rPr>
              <a:t>From 64k embedded systems, </a:t>
            </a:r>
            <a:r>
              <a:rPr lang="en-US" sz="4000" dirty="0" smtClean="0">
                <a:gradFill>
                  <a:gsLst>
                    <a:gs pos="72566">
                      <a:srgbClr val="FFFFFF"/>
                    </a:gs>
                    <a:gs pos="30000">
                      <a:srgbClr val="FFFFFF"/>
                    </a:gs>
                  </a:gsLst>
                  <a:lin ang="5400000" scaled="0"/>
                </a:gradFill>
              </a:rPr>
              <a:t/>
            </a:r>
            <a:br>
              <a:rPr lang="en-US" sz="4000" dirty="0" smtClean="0">
                <a:gradFill>
                  <a:gsLst>
                    <a:gs pos="72566">
                      <a:srgbClr val="FFFFFF"/>
                    </a:gs>
                    <a:gs pos="30000">
                      <a:srgbClr val="FFFFFF"/>
                    </a:gs>
                  </a:gsLst>
                  <a:lin ang="5400000" scaled="0"/>
                </a:gradFill>
              </a:rPr>
            </a:br>
            <a:r>
              <a:rPr lang="en-US" sz="4000" dirty="0" smtClean="0">
                <a:gradFill>
                  <a:gsLst>
                    <a:gs pos="72566">
                      <a:srgbClr val="FFFFFF"/>
                    </a:gs>
                    <a:gs pos="30000">
                      <a:srgbClr val="FFFFFF"/>
                    </a:gs>
                  </a:gsLst>
                  <a:lin ang="5400000" scaled="0"/>
                </a:gradFill>
              </a:rPr>
              <a:t>PCs</a:t>
            </a:r>
            <a:r>
              <a:rPr lang="en-US" sz="4000" dirty="0">
                <a:gradFill>
                  <a:gsLst>
                    <a:gs pos="72566">
                      <a:srgbClr val="FFFFFF"/>
                    </a:gs>
                    <a:gs pos="30000">
                      <a:srgbClr val="FFFFFF"/>
                    </a:gs>
                  </a:gsLst>
                  <a:lin ang="5400000" scaled="0"/>
                </a:gradFill>
              </a:rPr>
              <a:t>, </a:t>
            </a:r>
            <a:r>
              <a:rPr lang="en-US" sz="4000" dirty="0" smtClean="0">
                <a:gradFill>
                  <a:gsLst>
                    <a:gs pos="72566">
                      <a:srgbClr val="FFFFFF"/>
                    </a:gs>
                    <a:gs pos="30000">
                      <a:srgbClr val="FFFFFF"/>
                    </a:gs>
                  </a:gsLst>
                  <a:lin ang="5400000" scaled="0"/>
                </a:gradFill>
              </a:rPr>
              <a:t>tablets</a:t>
            </a:r>
            <a:r>
              <a:rPr lang="en-US" sz="4000" dirty="0">
                <a:gradFill>
                  <a:gsLst>
                    <a:gs pos="72566">
                      <a:srgbClr val="FFFFFF"/>
                    </a:gs>
                    <a:gs pos="30000">
                      <a:srgbClr val="FFFFFF"/>
                    </a:gs>
                  </a:gsLst>
                  <a:lin ang="5400000" scaled="0"/>
                </a:gradFill>
              </a:rPr>
              <a:t>, </a:t>
            </a:r>
            <a:r>
              <a:rPr lang="en-US" sz="4000" dirty="0" smtClean="0">
                <a:gradFill>
                  <a:gsLst>
                    <a:gs pos="72566">
                      <a:srgbClr val="FFFFFF"/>
                    </a:gs>
                    <a:gs pos="30000">
                      <a:srgbClr val="FFFFFF"/>
                    </a:gs>
                  </a:gsLst>
                  <a:lin ang="5400000" scaled="0"/>
                </a:gradFill>
              </a:rPr>
              <a:t>phones</a:t>
            </a:r>
            <a:r>
              <a:rPr lang="en-US" sz="4000" dirty="0">
                <a:gradFill>
                  <a:gsLst>
                    <a:gs pos="72566">
                      <a:srgbClr val="FFFFFF"/>
                    </a:gs>
                    <a:gs pos="30000">
                      <a:srgbClr val="FFFFFF"/>
                    </a:gs>
                  </a:gsLst>
                  <a:lin ang="5400000" scaled="0"/>
                </a:gradFill>
              </a:rPr>
              <a:t>, up to </a:t>
            </a:r>
            <a:r>
              <a:rPr lang="en-US" sz="4000" dirty="0" smtClean="0">
                <a:gradFill>
                  <a:gsLst>
                    <a:gs pos="72566">
                      <a:srgbClr val="FFFFFF"/>
                    </a:gs>
                    <a:gs pos="30000">
                      <a:srgbClr val="FFFFFF"/>
                    </a:gs>
                  </a:gsLst>
                  <a:lin ang="5400000" scaled="0"/>
                </a:gradFill>
              </a:rPr>
              <a:t/>
            </a:r>
            <a:br>
              <a:rPr lang="en-US" sz="4000" dirty="0" smtClean="0">
                <a:gradFill>
                  <a:gsLst>
                    <a:gs pos="72566">
                      <a:srgbClr val="FFFFFF"/>
                    </a:gs>
                    <a:gs pos="30000">
                      <a:srgbClr val="FFFFFF"/>
                    </a:gs>
                  </a:gsLst>
                  <a:lin ang="5400000" scaled="0"/>
                </a:gradFill>
              </a:rPr>
            </a:br>
            <a:r>
              <a:rPr lang="en-US" sz="4000" dirty="0" smtClean="0">
                <a:gradFill>
                  <a:gsLst>
                    <a:gs pos="72566">
                      <a:srgbClr val="FFFFFF"/>
                    </a:gs>
                    <a:gs pos="30000">
                      <a:srgbClr val="FFFFFF"/>
                    </a:gs>
                  </a:gsLst>
                  <a:lin ang="5400000" scaled="0"/>
                </a:gradFill>
              </a:rPr>
              <a:t>and </a:t>
            </a:r>
            <a:r>
              <a:rPr lang="en-US" sz="4000" dirty="0">
                <a:gradFill>
                  <a:gsLst>
                    <a:gs pos="72566">
                      <a:srgbClr val="FFFFFF"/>
                    </a:gs>
                    <a:gs pos="30000">
                      <a:srgbClr val="FFFFFF"/>
                    </a:gs>
                  </a:gsLst>
                  <a:lin ang="5400000" scaled="0"/>
                </a:gradFill>
              </a:rPr>
              <a:t>past 64-way Cloud Servers</a:t>
            </a:r>
          </a:p>
        </p:txBody>
      </p:sp>
    </p:spTree>
    <p:extLst>
      <p:ext uri="{BB962C8B-B14F-4D97-AF65-F5344CB8AC3E}">
        <p14:creationId xmlns:p14="http://schemas.microsoft.com/office/powerpoint/2010/main" val="296728548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499"/>
                                          </p:stCondLst>
                                        </p:cTn>
                                        <p:tgtEl>
                                          <p:spTgt spid="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3"/>
                                        </p:tgtEl>
                                      </p:cBhvr>
                                      <p:by x="0" y="0"/>
                                    </p:animScale>
                                  </p:childTnLst>
                                </p:cTn>
                              </p:par>
                              <p:par>
                                <p:cTn id="9" presetID="35" presetClass="path" presetSubtype="0" accel="100000" autoRev="1" fill="hold" grpId="2" nodeType="withEffect">
                                  <p:stCondLst>
                                    <p:cond delay="0"/>
                                  </p:stCondLst>
                                  <p:childTnLst>
                                    <p:animMotion origin="layout" path="M -3.74521E-6 0 L -0.17641 -0.29142 " pathEditMode="relative" rAng="0" ptsTypes="AA">
                                      <p:cBhvr>
                                        <p:cTn id="10" dur="500" fill="hold"/>
                                        <p:tgtEl>
                                          <p:spTgt spid="3"/>
                                        </p:tgtEl>
                                        <p:attrNameLst>
                                          <p:attrName>ppt_x</p:attrName>
                                          <p:attrName>ppt_y</p:attrName>
                                        </p:attrNameLst>
                                      </p:cBhvr>
                                      <p:rCtr x="-8821" y="-14571"/>
                                    </p:animMotion>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 presetClass="entr" presetSubtype="0" fill="hold" grpId="0" nodeType="withEffect">
                                  <p:stCondLst>
                                    <p:cond delay="0"/>
                                  </p:stCondLst>
                                  <p:childTnLst>
                                    <p:set>
                                      <p:cBhvr>
                                        <p:cTn id="16" dur="1" fill="hold">
                                          <p:stCondLst>
                                            <p:cond delay="499"/>
                                          </p:stCondLst>
                                        </p:cTn>
                                        <p:tgtEl>
                                          <p:spTgt spid="12"/>
                                        </p:tgtEl>
                                        <p:attrNameLst>
                                          <p:attrName>style.visibility</p:attrName>
                                        </p:attrNameLst>
                                      </p:cBhvr>
                                      <p:to>
                                        <p:strVal val="visible"/>
                                      </p:to>
                                    </p:set>
                                  </p:childTnLst>
                                </p:cTn>
                              </p:par>
                              <p:par>
                                <p:cTn id="17" presetID="6" presetClass="emph" presetSubtype="0" accel="100000" autoRev="1" fill="hold" grpId="1" nodeType="withEffect">
                                  <p:stCondLst>
                                    <p:cond delay="0"/>
                                  </p:stCondLst>
                                  <p:childTnLst>
                                    <p:animScale>
                                      <p:cBhvr>
                                        <p:cTn id="18" dur="500" fill="hold"/>
                                        <p:tgtEl>
                                          <p:spTgt spid="12"/>
                                        </p:tgtEl>
                                      </p:cBhvr>
                                      <p:by x="0" y="100000"/>
                                    </p:animScale>
                                  </p:childTnLst>
                                </p:cTn>
                              </p:par>
                              <p:par>
                                <p:cTn id="19" presetID="35" presetClass="path" presetSubtype="0" accel="100000" autoRev="1" fill="hold" grpId="2" nodeType="withEffect">
                                  <p:stCondLst>
                                    <p:cond delay="0"/>
                                  </p:stCondLst>
                                  <p:childTnLst>
                                    <p:animMotion origin="layout" path="M -4.08731E-6 -4.78892E-6 L -0.29959 -4.78892E-6 " pathEditMode="relative" rAng="0" ptsTypes="AA">
                                      <p:cBhvr>
                                        <p:cTn id="20" dur="500" fill="hold"/>
                                        <p:tgtEl>
                                          <p:spTgt spid="12"/>
                                        </p:tgtEl>
                                        <p:attrNameLst>
                                          <p:attrName>ppt_x</p:attrName>
                                          <p:attrName>ppt_y</p:attrName>
                                        </p:attrNameLst>
                                      </p:cBhvr>
                                      <p:rCtr x="-14986" y="0"/>
                                    </p:animMotion>
                                  </p:childTnLst>
                                </p:cTn>
                              </p:par>
                              <p:par>
                                <p:cTn id="21" presetID="1" presetClass="entr" presetSubtype="0" fill="hold" grpId="0" nodeType="withEffect">
                                  <p:stCondLst>
                                    <p:cond delay="100"/>
                                  </p:stCondLst>
                                  <p:childTnLst>
                                    <p:set>
                                      <p:cBhvr>
                                        <p:cTn id="22" dur="1" fill="hold">
                                          <p:stCondLst>
                                            <p:cond delay="499"/>
                                          </p:stCondLst>
                                        </p:cTn>
                                        <p:tgtEl>
                                          <p:spTgt spid="10"/>
                                        </p:tgtEl>
                                        <p:attrNameLst>
                                          <p:attrName>style.visibility</p:attrName>
                                        </p:attrNameLst>
                                      </p:cBhvr>
                                      <p:to>
                                        <p:strVal val="visible"/>
                                      </p:to>
                                    </p:set>
                                  </p:childTnLst>
                                </p:cTn>
                              </p:par>
                              <p:par>
                                <p:cTn id="23" presetID="6" presetClass="emph" presetSubtype="0" accel="100000" autoRev="1" fill="hold" grpId="1" nodeType="withEffect">
                                  <p:stCondLst>
                                    <p:cond delay="100"/>
                                  </p:stCondLst>
                                  <p:childTnLst>
                                    <p:animScale>
                                      <p:cBhvr>
                                        <p:cTn id="24" dur="500" fill="hold"/>
                                        <p:tgtEl>
                                          <p:spTgt spid="10"/>
                                        </p:tgtEl>
                                      </p:cBhvr>
                                      <p:by x="0" y="100000"/>
                                    </p:animScale>
                                  </p:childTnLst>
                                </p:cTn>
                              </p:par>
                              <p:par>
                                <p:cTn id="25" presetID="35" presetClass="path" presetSubtype="0" accel="100000" autoRev="1" fill="hold" grpId="2" nodeType="withEffect">
                                  <p:stCondLst>
                                    <p:cond delay="100"/>
                                  </p:stCondLst>
                                  <p:childTnLst>
                                    <p:animMotion origin="layout" path="M 3.5614E-6 8.6246E-7 L -0.2996 8.6246E-7 " pathEditMode="relative" rAng="0" ptsTypes="AA">
                                      <p:cBhvr>
                                        <p:cTn id="26" dur="500" fill="hold"/>
                                        <p:tgtEl>
                                          <p:spTgt spid="10"/>
                                        </p:tgtEl>
                                        <p:attrNameLst>
                                          <p:attrName>ppt_x</p:attrName>
                                          <p:attrName>ppt_y</p:attrName>
                                        </p:attrNameLst>
                                      </p:cBhvr>
                                      <p:rCtr x="-14986" y="0"/>
                                    </p:animMotion>
                                  </p:childTnLst>
                                </p:cTn>
                              </p:par>
                            </p:childTnLst>
                          </p:cTn>
                        </p:par>
                        <p:par>
                          <p:cTn id="27" fill="hold">
                            <p:stCondLst>
                              <p:cond delay="2100"/>
                            </p:stCondLst>
                            <p:childTnLst>
                              <p:par>
                                <p:cTn id="28" presetID="10" presetClass="entr" presetSubtype="0"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0" grpId="2" animBg="1"/>
      <p:bldP spid="12" grpId="0" animBg="1"/>
      <p:bldP spid="12" grpId="1" animBg="1"/>
      <p:bldP spid="12" grpId="2" animBg="1"/>
      <p:bldP spid="3" grpId="0" animBg="1"/>
      <p:bldP spid="3" grpId="1" animBg="1"/>
      <p:bldP spid="3" grpId="2" animBg="1"/>
      <p:bldP spid="14"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p:nvSpPr>
        <p:spPr>
          <a:xfrm>
            <a:off x="2048833" y="3035597"/>
            <a:ext cx="8338821" cy="923330"/>
          </a:xfrm>
          <a:prstGeom prst="rect">
            <a:avLst/>
          </a:prstGeom>
          <a:noFill/>
        </p:spPr>
        <p:txBody>
          <a:bodyPr wrap="none" lIns="91440" tIns="45720" rIns="91440" bIns="45720">
            <a:spAutoFit/>
          </a:bodyPr>
          <a:lstStyle/>
          <a:p>
            <a:pPr algn="ctr"/>
            <a:r>
              <a:rPr lang="en-US" sz="5400" b="1" spc="50" dirty="0" smtClean="0">
                <a:ln w="9525" cmpd="sng">
                  <a:solidFill>
                    <a:schemeClr val="accent1"/>
                  </a:solidFill>
                  <a:prstDash val="solid"/>
                </a:ln>
                <a:solidFill>
                  <a:srgbClr val="70AD47">
                    <a:tint val="1000"/>
                  </a:srgbClr>
                </a:solidFill>
                <a:effectLst>
                  <a:glow rad="38100">
                    <a:schemeClr val="accent1">
                      <a:alpha val="40000"/>
                    </a:schemeClr>
                  </a:glow>
                </a:effectLst>
              </a:rPr>
              <a:t>$100 coupon</a:t>
            </a:r>
            <a:r>
              <a:rPr lang="en-US" sz="5400" b="1" spc="50" dirty="0">
                <a:ln w="9525" cmpd="sng">
                  <a:solidFill>
                    <a:schemeClr val="accent1"/>
                  </a:solidFill>
                  <a:prstDash val="solid"/>
                </a:ln>
                <a:solidFill>
                  <a:srgbClr val="70AD47">
                    <a:tint val="1000"/>
                  </a:srgbClr>
                </a:solidFill>
                <a:effectLst>
                  <a:glow rad="38100">
                    <a:schemeClr val="accent1">
                      <a:alpha val="40000"/>
                    </a:schemeClr>
                  </a:glow>
                </a:effectLst>
              </a:rPr>
              <a:t> </a:t>
            </a:r>
            <a:r>
              <a:rPr lang="en-US" sz="5400" b="1" spc="50" dirty="0" smtClean="0">
                <a:ln w="9525" cmpd="sng">
                  <a:solidFill>
                    <a:schemeClr val="accent1"/>
                  </a:solidFill>
                  <a:prstDash val="solid"/>
                </a:ln>
                <a:solidFill>
                  <a:srgbClr val="70AD47">
                    <a:tint val="1000"/>
                  </a:srgbClr>
                </a:solidFill>
                <a:effectLst>
                  <a:glow rad="38100">
                    <a:schemeClr val="accent1">
                      <a:alpha val="40000"/>
                    </a:schemeClr>
                  </a:glow>
                </a:effectLst>
              </a:rPr>
              <a:t>give-a-way</a:t>
            </a:r>
            <a:endParaRPr lang="en-US" sz="5400" b="1" cap="none" spc="50" dirty="0">
              <a:ln w="9525" cmpd="sng">
                <a:solidFill>
                  <a:schemeClr val="accent1"/>
                </a:solidFill>
                <a:prstDash val="solid"/>
              </a:ln>
              <a:solidFill>
                <a:srgbClr val="70AD47">
                  <a:tint val="1000"/>
                </a:srgbClr>
              </a:solidFill>
              <a:effectLst>
                <a:glow rad="38100">
                  <a:schemeClr val="accent1">
                    <a:alpha val="40000"/>
                  </a:schemeClr>
                </a:glow>
              </a:effectLst>
            </a:endParaRPr>
          </a:p>
        </p:txBody>
      </p:sp>
    </p:spTree>
    <p:extLst>
      <p:ext uri="{BB962C8B-B14F-4D97-AF65-F5344CB8AC3E}">
        <p14:creationId xmlns:p14="http://schemas.microsoft.com/office/powerpoint/2010/main" val="46201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NET – Current state of Web and Services</a:t>
            </a:r>
            <a:endParaRPr lang="en-US" sz="4800" dirty="0"/>
          </a:p>
        </p:txBody>
      </p:sp>
      <p:sp>
        <p:nvSpPr>
          <p:cNvPr id="3" name="Content Placeholder 2"/>
          <p:cNvSpPr>
            <a:spLocks noGrp="1"/>
          </p:cNvSpPr>
          <p:nvPr>
            <p:ph idx="1"/>
          </p:nvPr>
        </p:nvSpPr>
        <p:spPr/>
        <p:txBody>
          <a:bodyPr/>
          <a:lstStyle/>
          <a:p>
            <a:endParaRPr lang="en-US"/>
          </a:p>
        </p:txBody>
      </p:sp>
      <p:sp>
        <p:nvSpPr>
          <p:cNvPr id="20" name="3 arrow"/>
          <p:cNvSpPr/>
          <p:nvPr/>
        </p:nvSpPr>
        <p:spPr bwMode="auto">
          <a:xfrm>
            <a:off x="2118244" y="1777076"/>
            <a:ext cx="3132799" cy="1072426"/>
          </a:xfrm>
          <a:prstGeom prst="homePlate">
            <a:avLst/>
          </a:prstGeom>
          <a:solidFill>
            <a:srgbClr val="68217A"/>
          </a:solidFill>
          <a:ln w="25400" cap="flat" cmpd="sng" algn="ctr">
            <a:noFill/>
            <a:prstDash val="solid"/>
            <a:headEnd type="none" w="med" len="med"/>
            <a:tailEnd type="none" w="med" len="med"/>
          </a:ln>
          <a:effectLst/>
        </p:spPr>
        <p:txBody>
          <a:bodyPr vert="horz" wrap="square" lIns="548640" tIns="45696" rIns="91386" bIns="73109" numCol="1" rtlCol="0" anchor="ctr" anchorCtr="0" compatLnSpc="1">
            <a:prstTxWarp prst="textNoShape">
              <a:avLst/>
            </a:prstTxWarp>
          </a:bodyPr>
          <a:lstStyle/>
          <a:p>
            <a:pPr defTabSz="913862"/>
            <a:r>
              <a:rPr lang="en-US" sz="2400" kern="0" dirty="0" smtClean="0">
                <a:gradFill>
                  <a:gsLst>
                    <a:gs pos="9583">
                      <a:srgbClr val="FFFFFF"/>
                    </a:gs>
                    <a:gs pos="24000">
                      <a:srgbClr val="FFFFFF"/>
                    </a:gs>
                  </a:gsLst>
                  <a:lin ang="5400000" scaled="0"/>
                </a:gradFill>
              </a:rPr>
              <a:t>Standards</a:t>
            </a:r>
          </a:p>
          <a:p>
            <a:pPr defTabSz="913862"/>
            <a:r>
              <a:rPr lang="en-US" sz="2400" kern="0" dirty="0" smtClean="0">
                <a:gradFill>
                  <a:gsLst>
                    <a:gs pos="9583">
                      <a:srgbClr val="FFFFFF"/>
                    </a:gs>
                    <a:gs pos="24000">
                      <a:srgbClr val="FFFFFF"/>
                    </a:gs>
                  </a:gsLst>
                  <a:lin ang="5400000" scaled="0"/>
                </a:gradFill>
              </a:rPr>
              <a:t>based</a:t>
            </a:r>
            <a:endParaRPr lang="en-US" sz="2400" kern="0" dirty="0">
              <a:gradFill>
                <a:gsLst>
                  <a:gs pos="9583">
                    <a:srgbClr val="FFFFFF"/>
                  </a:gs>
                  <a:gs pos="24000">
                    <a:srgbClr val="FFFFFF"/>
                  </a:gs>
                </a:gsLst>
                <a:lin ang="5400000" scaled="0"/>
              </a:gradFill>
            </a:endParaRPr>
          </a:p>
        </p:txBody>
      </p:sp>
      <p:sp>
        <p:nvSpPr>
          <p:cNvPr id="21" name="Oval 20"/>
          <p:cNvSpPr/>
          <p:nvPr/>
        </p:nvSpPr>
        <p:spPr bwMode="auto">
          <a:xfrm>
            <a:off x="809031" y="1527639"/>
            <a:ext cx="1554956" cy="1554956"/>
          </a:xfrm>
          <a:prstGeom prst="ellipse">
            <a:avLst/>
          </a:prstGeom>
          <a:solidFill>
            <a:schemeClr val="bg1"/>
          </a:solidFill>
          <a:ln w="76200">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 name="Chevron 21"/>
          <p:cNvSpPr/>
          <p:nvPr/>
        </p:nvSpPr>
        <p:spPr bwMode="auto">
          <a:xfrm>
            <a:off x="4851548" y="1777076"/>
            <a:ext cx="6702641" cy="1072426"/>
          </a:xfrm>
          <a:prstGeom prst="chevron">
            <a:avLst>
              <a:gd name="adj" fmla="val 52773"/>
            </a:avLst>
          </a:prstGeom>
          <a:solidFill>
            <a:schemeClr val="bg1">
              <a:lumMod val="85000"/>
            </a:schemeClr>
          </a:solidFill>
          <a:ln w="25400" cap="flat" cmpd="sng" algn="ctr">
            <a:noFill/>
            <a:prstDash val="solid"/>
            <a:headEnd type="none" w="med" len="med"/>
            <a:tailEnd type="none" w="med" len="med"/>
          </a:ln>
          <a:effectLst/>
        </p:spPr>
        <p:txBody>
          <a:bodyPr vert="horz" wrap="square" lIns="91386" tIns="45696" rIns="91386" bIns="73109" numCol="1" rtlCol="0" anchor="ctr" anchorCtr="0" compatLnSpc="1">
            <a:prstTxWarp prst="textNoShape">
              <a:avLst/>
            </a:prstTxWarp>
          </a:bodyPr>
          <a:lstStyle/>
          <a:p>
            <a:pPr marL="116575" lvl="1" defTabSz="699419">
              <a:lnSpc>
                <a:spcPct val="90000"/>
              </a:lnSpc>
              <a:spcBef>
                <a:spcPts val="459"/>
              </a:spcBef>
              <a:buSzPct val="90000"/>
              <a:tabLst>
                <a:tab pos="233149" algn="l"/>
                <a:tab pos="480871" algn="l"/>
              </a:tabLst>
              <a:defRPr/>
            </a:pPr>
            <a:r>
              <a:rPr lang="en-US" i="1" kern="0" spc="-23" dirty="0" smtClean="0">
                <a:solidFill>
                  <a:srgbClr val="000000">
                    <a:lumMod val="75000"/>
                    <a:lumOff val="25000"/>
                  </a:srgbClr>
                </a:solidFill>
              </a:rPr>
              <a:t>Productivity of Visual Studio + Flexibility of Web</a:t>
            </a:r>
          </a:p>
          <a:p>
            <a:pPr marL="116575" lvl="1" defTabSz="699419">
              <a:lnSpc>
                <a:spcPct val="90000"/>
              </a:lnSpc>
              <a:spcBef>
                <a:spcPts val="459"/>
              </a:spcBef>
              <a:buSzPct val="90000"/>
              <a:tabLst>
                <a:tab pos="233149" algn="l"/>
                <a:tab pos="480871" algn="l"/>
              </a:tabLst>
              <a:defRPr/>
            </a:pPr>
            <a:r>
              <a:rPr lang="en-US" sz="1500" kern="0" spc="-23" dirty="0" smtClean="0">
                <a:solidFill>
                  <a:srgbClr val="000000">
                    <a:lumMod val="75000"/>
                    <a:lumOff val="25000"/>
                  </a:srgbClr>
                </a:solidFill>
                <a:latin typeface="Segoe UI Light"/>
              </a:rPr>
              <a:t>Interactive HTML / CSS tools for web apps that look and behave the same across any browser</a:t>
            </a:r>
          </a:p>
        </p:txBody>
      </p:sp>
      <p:sp>
        <p:nvSpPr>
          <p:cNvPr id="23" name="Freeform 6"/>
          <p:cNvSpPr>
            <a:spLocks noEditPoints="1"/>
          </p:cNvSpPr>
          <p:nvPr/>
        </p:nvSpPr>
        <p:spPr bwMode="auto">
          <a:xfrm>
            <a:off x="1197604" y="1884072"/>
            <a:ext cx="777810" cy="882729"/>
          </a:xfrm>
          <a:custGeom>
            <a:avLst/>
            <a:gdLst>
              <a:gd name="T0" fmla="*/ 0 w 14953"/>
              <a:gd name="T1" fmla="*/ 0 h 16970"/>
              <a:gd name="T2" fmla="*/ 1361 w 14953"/>
              <a:gd name="T3" fmla="*/ 15274 h 16970"/>
              <a:gd name="T4" fmla="*/ 7472 w 14953"/>
              <a:gd name="T5" fmla="*/ 16970 h 16970"/>
              <a:gd name="T6" fmla="*/ 13590 w 14953"/>
              <a:gd name="T7" fmla="*/ 15274 h 16970"/>
              <a:gd name="T8" fmla="*/ 14953 w 14953"/>
              <a:gd name="T9" fmla="*/ 0 h 16970"/>
              <a:gd name="T10" fmla="*/ 0 w 14953"/>
              <a:gd name="T11" fmla="*/ 0 h 16970"/>
              <a:gd name="T12" fmla="*/ 12000 w 14953"/>
              <a:gd name="T13" fmla="*/ 4996 h 16970"/>
              <a:gd name="T14" fmla="*/ 11996 w 14953"/>
              <a:gd name="T15" fmla="*/ 4996 h 16970"/>
              <a:gd name="T16" fmla="*/ 4831 w 14953"/>
              <a:gd name="T17" fmla="*/ 4996 h 16970"/>
              <a:gd name="T18" fmla="*/ 5004 w 14953"/>
              <a:gd name="T19" fmla="*/ 6914 h 16970"/>
              <a:gd name="T20" fmla="*/ 11830 w 14953"/>
              <a:gd name="T21" fmla="*/ 6914 h 16970"/>
              <a:gd name="T22" fmla="*/ 11315 w 14953"/>
              <a:gd name="T23" fmla="*/ 12664 h 16970"/>
              <a:gd name="T24" fmla="*/ 7474 w 14953"/>
              <a:gd name="T25" fmla="*/ 13729 h 16970"/>
              <a:gd name="T26" fmla="*/ 3636 w 14953"/>
              <a:gd name="T27" fmla="*/ 12664 h 16970"/>
              <a:gd name="T28" fmla="*/ 3369 w 14953"/>
              <a:gd name="T29" fmla="*/ 9657 h 16970"/>
              <a:gd name="T30" fmla="*/ 5249 w 14953"/>
              <a:gd name="T31" fmla="*/ 9657 h 16970"/>
              <a:gd name="T32" fmla="*/ 5389 w 14953"/>
              <a:gd name="T33" fmla="*/ 11218 h 16970"/>
              <a:gd name="T34" fmla="*/ 7474 w 14953"/>
              <a:gd name="T35" fmla="*/ 11780 h 16970"/>
              <a:gd name="T36" fmla="*/ 9565 w 14953"/>
              <a:gd name="T37" fmla="*/ 11216 h 16970"/>
              <a:gd name="T38" fmla="*/ 9782 w 14953"/>
              <a:gd name="T39" fmla="*/ 8787 h 16970"/>
              <a:gd name="T40" fmla="*/ 3291 w 14953"/>
              <a:gd name="T41" fmla="*/ 8787 h 16970"/>
              <a:gd name="T42" fmla="*/ 2786 w 14953"/>
              <a:gd name="T43" fmla="*/ 3123 h 16970"/>
              <a:gd name="T44" fmla="*/ 12168 w 14953"/>
              <a:gd name="T45" fmla="*/ 3123 h 16970"/>
              <a:gd name="T46" fmla="*/ 12000 w 14953"/>
              <a:gd name="T47" fmla="*/ 4996 h 16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53" h="16970">
                <a:moveTo>
                  <a:pt x="0" y="0"/>
                </a:moveTo>
                <a:lnTo>
                  <a:pt x="1361" y="15274"/>
                </a:lnTo>
                <a:lnTo>
                  <a:pt x="7472" y="16970"/>
                </a:lnTo>
                <a:lnTo>
                  <a:pt x="13590" y="15274"/>
                </a:lnTo>
                <a:lnTo>
                  <a:pt x="14953" y="0"/>
                </a:lnTo>
                <a:lnTo>
                  <a:pt x="0" y="0"/>
                </a:lnTo>
                <a:close/>
                <a:moveTo>
                  <a:pt x="12000" y="4996"/>
                </a:moveTo>
                <a:lnTo>
                  <a:pt x="11996" y="4996"/>
                </a:lnTo>
                <a:lnTo>
                  <a:pt x="4831" y="4996"/>
                </a:lnTo>
                <a:lnTo>
                  <a:pt x="5004" y="6914"/>
                </a:lnTo>
                <a:lnTo>
                  <a:pt x="11830" y="6914"/>
                </a:lnTo>
                <a:lnTo>
                  <a:pt x="11315" y="12664"/>
                </a:lnTo>
                <a:lnTo>
                  <a:pt x="7474" y="13729"/>
                </a:lnTo>
                <a:lnTo>
                  <a:pt x="3636" y="12664"/>
                </a:lnTo>
                <a:lnTo>
                  <a:pt x="3369" y="9657"/>
                </a:lnTo>
                <a:lnTo>
                  <a:pt x="5249" y="9657"/>
                </a:lnTo>
                <a:lnTo>
                  <a:pt x="5389" y="11218"/>
                </a:lnTo>
                <a:lnTo>
                  <a:pt x="7474" y="11780"/>
                </a:lnTo>
                <a:lnTo>
                  <a:pt x="9565" y="11216"/>
                </a:lnTo>
                <a:lnTo>
                  <a:pt x="9782" y="8787"/>
                </a:lnTo>
                <a:lnTo>
                  <a:pt x="3291" y="8787"/>
                </a:lnTo>
                <a:lnTo>
                  <a:pt x="2786" y="3123"/>
                </a:lnTo>
                <a:lnTo>
                  <a:pt x="12168" y="3123"/>
                </a:lnTo>
                <a:lnTo>
                  <a:pt x="12000" y="4996"/>
                </a:lnTo>
                <a:close/>
              </a:path>
            </a:pathLst>
          </a:custGeom>
          <a:solidFill>
            <a:srgbClr val="68217A"/>
          </a:solidFill>
          <a:ln>
            <a:noFill/>
          </a:ln>
        </p:spPr>
        <p:txBody>
          <a:bodyPr vert="horz" wrap="square" lIns="91440" tIns="45720" rIns="91440" bIns="45720" numCol="1" anchor="t" anchorCtr="0" compatLnSpc="1">
            <a:prstTxWarp prst="textNoShape">
              <a:avLst/>
            </a:prstTxWarp>
          </a:bodyPr>
          <a:lstStyle/>
          <a:p>
            <a:pPr defTabSz="914363">
              <a:defRPr/>
            </a:pPr>
            <a:endParaRPr lang="en-US" kern="0" smtClean="0">
              <a:solidFill>
                <a:srgbClr val="000000"/>
              </a:solidFill>
            </a:endParaRPr>
          </a:p>
        </p:txBody>
      </p:sp>
      <p:sp>
        <p:nvSpPr>
          <p:cNvPr id="24" name="3 arrow"/>
          <p:cNvSpPr/>
          <p:nvPr/>
        </p:nvSpPr>
        <p:spPr bwMode="auto">
          <a:xfrm>
            <a:off x="2118244" y="3555691"/>
            <a:ext cx="3132799" cy="1072426"/>
          </a:xfrm>
          <a:prstGeom prst="homePlate">
            <a:avLst/>
          </a:prstGeom>
          <a:solidFill>
            <a:srgbClr val="68217A"/>
          </a:solidFill>
          <a:ln w="25400" cap="flat" cmpd="sng" algn="ctr">
            <a:noFill/>
            <a:prstDash val="solid"/>
            <a:headEnd type="none" w="med" len="med"/>
            <a:tailEnd type="none" w="med" len="med"/>
          </a:ln>
          <a:effectLst/>
        </p:spPr>
        <p:txBody>
          <a:bodyPr vert="horz" wrap="square" lIns="548640" tIns="45696" rIns="91386" bIns="73109" numCol="1" rtlCol="0" anchor="ctr" anchorCtr="0" compatLnSpc="1">
            <a:prstTxWarp prst="textNoShape">
              <a:avLst/>
            </a:prstTxWarp>
          </a:bodyPr>
          <a:lstStyle/>
          <a:p>
            <a:pPr defTabSz="913862"/>
            <a:r>
              <a:rPr lang="en-US" sz="2400" kern="0" dirty="0" smtClean="0">
                <a:gradFill>
                  <a:gsLst>
                    <a:gs pos="9583">
                      <a:srgbClr val="FFFFFF"/>
                    </a:gs>
                    <a:gs pos="24000">
                      <a:srgbClr val="FFFFFF"/>
                    </a:gs>
                  </a:gsLst>
                  <a:lin ang="5400000" scaled="0"/>
                </a:gradFill>
              </a:rPr>
              <a:t>Highly</a:t>
            </a:r>
          </a:p>
          <a:p>
            <a:pPr defTabSz="913862"/>
            <a:r>
              <a:rPr lang="en-US" sz="2400" kern="0" dirty="0" smtClean="0">
                <a:gradFill>
                  <a:gsLst>
                    <a:gs pos="9583">
                      <a:srgbClr val="FFFFFF"/>
                    </a:gs>
                    <a:gs pos="24000">
                      <a:srgbClr val="FFFFFF"/>
                    </a:gs>
                  </a:gsLst>
                  <a:lin ang="5400000" scaled="0"/>
                </a:gradFill>
              </a:rPr>
              <a:t>interactive apps</a:t>
            </a:r>
            <a:endParaRPr lang="en-US" sz="2400" kern="0" dirty="0">
              <a:gradFill>
                <a:gsLst>
                  <a:gs pos="9583">
                    <a:srgbClr val="FFFFFF"/>
                  </a:gs>
                  <a:gs pos="24000">
                    <a:srgbClr val="FFFFFF"/>
                  </a:gs>
                </a:gsLst>
                <a:lin ang="5400000" scaled="0"/>
              </a:gradFill>
            </a:endParaRPr>
          </a:p>
        </p:txBody>
      </p:sp>
      <p:sp>
        <p:nvSpPr>
          <p:cNvPr id="25" name="Oval 24"/>
          <p:cNvSpPr/>
          <p:nvPr/>
        </p:nvSpPr>
        <p:spPr bwMode="auto">
          <a:xfrm>
            <a:off x="809031" y="3306254"/>
            <a:ext cx="1554956" cy="1554956"/>
          </a:xfrm>
          <a:prstGeom prst="ellipse">
            <a:avLst/>
          </a:prstGeom>
          <a:solidFill>
            <a:schemeClr val="bg1"/>
          </a:solidFill>
          <a:ln w="76200">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 name="Chevron 25"/>
          <p:cNvSpPr/>
          <p:nvPr/>
        </p:nvSpPr>
        <p:spPr bwMode="auto">
          <a:xfrm>
            <a:off x="4851548" y="3555691"/>
            <a:ext cx="6702641" cy="1072426"/>
          </a:xfrm>
          <a:prstGeom prst="chevron">
            <a:avLst>
              <a:gd name="adj" fmla="val 52773"/>
            </a:avLst>
          </a:prstGeom>
          <a:solidFill>
            <a:schemeClr val="bg1">
              <a:lumMod val="85000"/>
            </a:schemeClr>
          </a:solidFill>
          <a:ln w="25400" cap="flat" cmpd="sng" algn="ctr">
            <a:noFill/>
            <a:prstDash val="solid"/>
            <a:headEnd type="none" w="med" len="med"/>
            <a:tailEnd type="none" w="med" len="med"/>
          </a:ln>
          <a:effectLst/>
        </p:spPr>
        <p:txBody>
          <a:bodyPr vert="horz" wrap="square" lIns="91386" tIns="45696" rIns="91386" bIns="73109" numCol="1" rtlCol="0" anchor="ctr" anchorCtr="0" compatLnSpc="1">
            <a:prstTxWarp prst="textNoShape">
              <a:avLst/>
            </a:prstTxWarp>
          </a:bodyPr>
          <a:lstStyle/>
          <a:p>
            <a:pPr marL="116575" lvl="1" defTabSz="699419">
              <a:lnSpc>
                <a:spcPct val="90000"/>
              </a:lnSpc>
              <a:spcBef>
                <a:spcPts val="459"/>
              </a:spcBef>
              <a:buSzPct val="90000"/>
              <a:tabLst>
                <a:tab pos="233149" algn="l"/>
                <a:tab pos="480871" algn="l"/>
              </a:tabLst>
              <a:defRPr/>
            </a:pPr>
            <a:r>
              <a:rPr lang="en-US" i="1" kern="0" spc="-23" dirty="0" smtClean="0">
                <a:solidFill>
                  <a:srgbClr val="000000">
                    <a:lumMod val="75000"/>
                    <a:lumOff val="25000"/>
                  </a:srgbClr>
                </a:solidFill>
              </a:rPr>
              <a:t>Powerful tools and technologies for interactive apps</a:t>
            </a:r>
          </a:p>
          <a:p>
            <a:pPr marL="116575" lvl="1" defTabSz="699419">
              <a:lnSpc>
                <a:spcPct val="90000"/>
              </a:lnSpc>
              <a:spcBef>
                <a:spcPts val="459"/>
              </a:spcBef>
              <a:buSzPct val="90000"/>
              <a:tabLst>
                <a:tab pos="233149" algn="l"/>
                <a:tab pos="480871" algn="l"/>
              </a:tabLst>
              <a:defRPr/>
            </a:pPr>
            <a:r>
              <a:rPr lang="en-US" sz="1500" kern="0" spc="-23" dirty="0" smtClean="0">
                <a:solidFill>
                  <a:srgbClr val="000000">
                    <a:lumMod val="75000"/>
                    <a:lumOff val="25000"/>
                  </a:srgbClr>
                </a:solidFill>
                <a:latin typeface="Segoe UI Light"/>
              </a:rPr>
              <a:t>Develop JavaScript/</a:t>
            </a:r>
            <a:r>
              <a:rPr lang="en-US" sz="1500" kern="0" spc="-23" dirty="0" err="1" smtClean="0">
                <a:solidFill>
                  <a:srgbClr val="000000">
                    <a:lumMod val="75000"/>
                    <a:lumOff val="25000"/>
                  </a:srgbClr>
                </a:solidFill>
                <a:latin typeface="Segoe UI Light"/>
              </a:rPr>
              <a:t>TypeScript</a:t>
            </a:r>
            <a:r>
              <a:rPr lang="en-US" sz="1500" kern="0" spc="-23" dirty="0" smtClean="0">
                <a:solidFill>
                  <a:srgbClr val="000000">
                    <a:lumMod val="75000"/>
                    <a:lumOff val="25000"/>
                  </a:srgbClr>
                </a:solidFill>
                <a:latin typeface="Segoe UI Light"/>
              </a:rPr>
              <a:t> complex logic with powerful editing, </a:t>
            </a:r>
            <a:r>
              <a:rPr lang="en-US" sz="1500" kern="0" spc="-23" dirty="0">
                <a:solidFill>
                  <a:srgbClr val="000000">
                    <a:lumMod val="75000"/>
                    <a:lumOff val="25000"/>
                  </a:srgbClr>
                </a:solidFill>
                <a:latin typeface="Segoe UI Light"/>
              </a:rPr>
              <a:t>debugging and </a:t>
            </a:r>
            <a:r>
              <a:rPr lang="en-US" sz="1500" kern="0" spc="-23" dirty="0" smtClean="0">
                <a:solidFill>
                  <a:srgbClr val="000000">
                    <a:lumMod val="75000"/>
                    <a:lumOff val="25000"/>
                  </a:srgbClr>
                </a:solidFill>
                <a:latin typeface="Segoe UI Light"/>
              </a:rPr>
              <a:t>diagnostics.</a:t>
            </a:r>
          </a:p>
        </p:txBody>
      </p:sp>
      <p:sp>
        <p:nvSpPr>
          <p:cNvPr id="30" name="3 arrow"/>
          <p:cNvSpPr/>
          <p:nvPr/>
        </p:nvSpPr>
        <p:spPr bwMode="auto">
          <a:xfrm>
            <a:off x="2118244" y="5360084"/>
            <a:ext cx="3132799" cy="1072426"/>
          </a:xfrm>
          <a:prstGeom prst="homePlate">
            <a:avLst/>
          </a:prstGeom>
          <a:solidFill>
            <a:srgbClr val="68217A"/>
          </a:solidFill>
          <a:ln w="25400" cap="flat" cmpd="sng" algn="ctr">
            <a:noFill/>
            <a:prstDash val="solid"/>
            <a:headEnd type="none" w="med" len="med"/>
            <a:tailEnd type="none" w="med" len="med"/>
          </a:ln>
          <a:effectLst/>
        </p:spPr>
        <p:txBody>
          <a:bodyPr vert="horz" wrap="square" lIns="548640" tIns="45696" rIns="91386" bIns="73109" numCol="1" rtlCol="0" anchor="ctr" anchorCtr="0" compatLnSpc="1">
            <a:prstTxWarp prst="textNoShape">
              <a:avLst/>
            </a:prstTxWarp>
          </a:bodyPr>
          <a:lstStyle/>
          <a:p>
            <a:pPr defTabSz="913862"/>
            <a:r>
              <a:rPr lang="en-US" sz="2400" kern="0" dirty="0" smtClean="0">
                <a:gradFill>
                  <a:gsLst>
                    <a:gs pos="9583">
                      <a:srgbClr val="FFFFFF"/>
                    </a:gs>
                    <a:gs pos="24000">
                      <a:srgbClr val="FFFFFF"/>
                    </a:gs>
                  </a:gsLst>
                  <a:lin ang="5400000" scaled="0"/>
                </a:gradFill>
              </a:rPr>
              <a:t>Suited for </a:t>
            </a:r>
          </a:p>
          <a:p>
            <a:pPr defTabSz="913862"/>
            <a:r>
              <a:rPr lang="en-US" sz="2400" kern="0" dirty="0" smtClean="0">
                <a:gradFill>
                  <a:gsLst>
                    <a:gs pos="9583">
                      <a:srgbClr val="FFFFFF"/>
                    </a:gs>
                    <a:gs pos="24000">
                      <a:srgbClr val="FFFFFF"/>
                    </a:gs>
                  </a:gsLst>
                  <a:lin ang="5400000" scaled="0"/>
                </a:gradFill>
              </a:rPr>
              <a:t>LOB apps</a:t>
            </a:r>
            <a:endParaRPr lang="en-US" sz="2400" kern="0" dirty="0">
              <a:gradFill>
                <a:gsLst>
                  <a:gs pos="9583">
                    <a:srgbClr val="FFFFFF"/>
                  </a:gs>
                  <a:gs pos="24000">
                    <a:srgbClr val="FFFFFF"/>
                  </a:gs>
                </a:gsLst>
                <a:lin ang="5400000" scaled="0"/>
              </a:gradFill>
            </a:endParaRPr>
          </a:p>
        </p:txBody>
      </p:sp>
      <p:sp>
        <p:nvSpPr>
          <p:cNvPr id="31" name="Oval 30"/>
          <p:cNvSpPr/>
          <p:nvPr/>
        </p:nvSpPr>
        <p:spPr bwMode="auto">
          <a:xfrm>
            <a:off x="809031" y="5110647"/>
            <a:ext cx="1554956" cy="1554956"/>
          </a:xfrm>
          <a:prstGeom prst="ellipse">
            <a:avLst/>
          </a:prstGeom>
          <a:solidFill>
            <a:schemeClr val="bg1"/>
          </a:solidFill>
          <a:ln w="76200">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Chevron 31"/>
          <p:cNvSpPr/>
          <p:nvPr/>
        </p:nvSpPr>
        <p:spPr bwMode="auto">
          <a:xfrm>
            <a:off x="4851548" y="5360084"/>
            <a:ext cx="6702641" cy="1072426"/>
          </a:xfrm>
          <a:prstGeom prst="chevron">
            <a:avLst>
              <a:gd name="adj" fmla="val 52773"/>
            </a:avLst>
          </a:prstGeom>
          <a:solidFill>
            <a:schemeClr val="bg1">
              <a:lumMod val="85000"/>
            </a:schemeClr>
          </a:solidFill>
          <a:ln w="25400" cap="flat" cmpd="sng" algn="ctr">
            <a:noFill/>
            <a:prstDash val="solid"/>
            <a:headEnd type="none" w="med" len="med"/>
            <a:tailEnd type="none" w="med" len="med"/>
          </a:ln>
          <a:effectLst/>
        </p:spPr>
        <p:txBody>
          <a:bodyPr vert="horz" wrap="square" lIns="91386" tIns="45696" rIns="91386" bIns="73109" numCol="1" rtlCol="0" anchor="ctr" anchorCtr="0" compatLnSpc="1">
            <a:prstTxWarp prst="textNoShape">
              <a:avLst/>
            </a:prstTxWarp>
          </a:bodyPr>
          <a:lstStyle/>
          <a:p>
            <a:pPr marL="116575" lvl="1" defTabSz="699419">
              <a:lnSpc>
                <a:spcPct val="90000"/>
              </a:lnSpc>
              <a:spcBef>
                <a:spcPts val="459"/>
              </a:spcBef>
              <a:buSzPct val="90000"/>
              <a:tabLst>
                <a:tab pos="233149" algn="l"/>
                <a:tab pos="480871" algn="l"/>
              </a:tabLst>
              <a:defRPr/>
            </a:pPr>
            <a:r>
              <a:rPr lang="en-US" i="1" kern="0" spc="-23" dirty="0" smtClean="0">
                <a:solidFill>
                  <a:srgbClr val="000000">
                    <a:lumMod val="75000"/>
                    <a:lumOff val="25000"/>
                  </a:srgbClr>
                </a:solidFill>
              </a:rPr>
              <a:t>Supports demanding needs of LOB apps</a:t>
            </a:r>
          </a:p>
          <a:p>
            <a:pPr marL="116575" lvl="1" defTabSz="699419">
              <a:lnSpc>
                <a:spcPct val="90000"/>
              </a:lnSpc>
              <a:spcBef>
                <a:spcPts val="459"/>
              </a:spcBef>
              <a:buSzPct val="90000"/>
              <a:tabLst>
                <a:tab pos="233149" algn="l"/>
                <a:tab pos="480871" algn="l"/>
              </a:tabLst>
              <a:defRPr/>
            </a:pPr>
            <a:r>
              <a:rPr lang="en-US" sz="1500" kern="0" spc="-23" dirty="0" smtClean="0">
                <a:solidFill>
                  <a:srgbClr val="000000">
                    <a:lumMod val="75000"/>
                    <a:lumOff val="25000"/>
                  </a:srgbClr>
                </a:solidFill>
                <a:latin typeface="Segoe UI Light"/>
              </a:rPr>
              <a:t>Hybrid cloud requirements, flexibility, productivity, </a:t>
            </a:r>
          </a:p>
          <a:p>
            <a:pPr marL="116575" lvl="1" defTabSz="699419">
              <a:lnSpc>
                <a:spcPct val="90000"/>
              </a:lnSpc>
              <a:spcBef>
                <a:spcPts val="459"/>
              </a:spcBef>
              <a:buSzPct val="90000"/>
              <a:tabLst>
                <a:tab pos="233149" algn="l"/>
                <a:tab pos="480871" algn="l"/>
              </a:tabLst>
              <a:defRPr/>
            </a:pPr>
            <a:r>
              <a:rPr lang="en-US" sz="1500" kern="0" spc="-23" dirty="0" smtClean="0">
                <a:solidFill>
                  <a:srgbClr val="000000">
                    <a:lumMod val="75000"/>
                    <a:lumOff val="25000"/>
                  </a:srgbClr>
                </a:solidFill>
                <a:latin typeface="Segoe UI Light"/>
              </a:rPr>
              <a:t>Tools to develop and test complex web applications that scale. </a:t>
            </a:r>
          </a:p>
        </p:txBody>
      </p:sp>
      <p:sp>
        <p:nvSpPr>
          <p:cNvPr id="17" name="Rounded Rectangle 114"/>
          <p:cNvSpPr/>
          <p:nvPr/>
        </p:nvSpPr>
        <p:spPr bwMode="auto">
          <a:xfrm rot="221567" flipH="1">
            <a:off x="1179865" y="3647925"/>
            <a:ext cx="813287" cy="817107"/>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1242756" y="5397028"/>
            <a:ext cx="757394" cy="877512"/>
            <a:chOff x="5394326" y="4936834"/>
            <a:chExt cx="720725" cy="835025"/>
          </a:xfrm>
          <a:solidFill>
            <a:schemeClr val="accent2"/>
          </a:solidFill>
        </p:grpSpPr>
        <p:sp>
          <p:nvSpPr>
            <p:cNvPr id="19"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3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Tree>
    <p:extLst>
      <p:ext uri="{BB962C8B-B14F-4D97-AF65-F5344CB8AC3E}">
        <p14:creationId xmlns:p14="http://schemas.microsoft.com/office/powerpoint/2010/main" val="364176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33125" y="743318"/>
            <a:ext cx="12103350" cy="5507889"/>
            <a:chOff x="333125" y="1179951"/>
            <a:chExt cx="12103350" cy="5507889"/>
          </a:xfrm>
        </p:grpSpPr>
        <p:sp>
          <p:nvSpPr>
            <p:cNvPr id="61" name="Rectangle 60"/>
            <p:cNvSpPr/>
            <p:nvPr/>
          </p:nvSpPr>
          <p:spPr bwMode="auto">
            <a:xfrm>
              <a:off x="876301" y="5634781"/>
              <a:ext cx="11560174" cy="1050234"/>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800" dirty="0">
                <a:solidFill>
                  <a:srgbClr val="FFFFFF"/>
                </a:solidFill>
                <a:latin typeface="Segoe UI Light"/>
              </a:endParaRPr>
            </a:p>
          </p:txBody>
        </p:sp>
        <p:sp>
          <p:nvSpPr>
            <p:cNvPr id="62" name="Rectangle 61"/>
            <p:cNvSpPr/>
            <p:nvPr/>
          </p:nvSpPr>
          <p:spPr bwMode="auto">
            <a:xfrm>
              <a:off x="876300" y="1223234"/>
              <a:ext cx="11560175" cy="969318"/>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800" dirty="0">
                <a:solidFill>
                  <a:srgbClr val="FFFFFF"/>
                </a:solidFill>
                <a:latin typeface="Segoe UI Light"/>
              </a:endParaRPr>
            </a:p>
          </p:txBody>
        </p:sp>
        <p:sp>
          <p:nvSpPr>
            <p:cNvPr id="63" name="Rectangle 62"/>
            <p:cNvSpPr/>
            <p:nvPr/>
          </p:nvSpPr>
          <p:spPr bwMode="auto">
            <a:xfrm>
              <a:off x="876301" y="2272453"/>
              <a:ext cx="11560174" cy="1050234"/>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800" dirty="0">
                <a:solidFill>
                  <a:srgbClr val="FFFFFF"/>
                </a:solidFill>
                <a:latin typeface="Segoe UI Light"/>
              </a:endParaRPr>
            </a:p>
          </p:txBody>
        </p:sp>
        <p:sp>
          <p:nvSpPr>
            <p:cNvPr id="64" name="Rectangle 63"/>
            <p:cNvSpPr/>
            <p:nvPr/>
          </p:nvSpPr>
          <p:spPr bwMode="auto">
            <a:xfrm>
              <a:off x="876300" y="3393653"/>
              <a:ext cx="11560175" cy="105023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800" dirty="0">
                <a:solidFill>
                  <a:srgbClr val="FFFFFF"/>
                </a:solidFill>
                <a:latin typeface="Segoe UI Light"/>
              </a:endParaRPr>
            </a:p>
          </p:txBody>
        </p:sp>
        <p:sp>
          <p:nvSpPr>
            <p:cNvPr id="65" name="Rectangle 64"/>
            <p:cNvSpPr/>
            <p:nvPr/>
          </p:nvSpPr>
          <p:spPr bwMode="auto">
            <a:xfrm>
              <a:off x="876301" y="4514853"/>
              <a:ext cx="11560174" cy="1050234"/>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800" dirty="0">
                <a:solidFill>
                  <a:srgbClr val="FFFFFF"/>
                </a:solidFill>
                <a:latin typeface="Segoe UI Light"/>
              </a:endParaRPr>
            </a:p>
          </p:txBody>
        </p:sp>
        <p:sp>
          <p:nvSpPr>
            <p:cNvPr id="68" name="Rectangle 67"/>
            <p:cNvSpPr/>
            <p:nvPr/>
          </p:nvSpPr>
          <p:spPr bwMode="auto">
            <a:xfrm>
              <a:off x="739650" y="1223234"/>
              <a:ext cx="11420474" cy="9693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002050"/>
                  </a:solidFill>
                  <a:latin typeface="Segoe UI Light"/>
                </a:rPr>
                <a:t>“Our role is more important than ever before</a:t>
              </a:r>
              <a:r>
                <a:rPr lang="en-US" sz="2800" dirty="0" smtClean="0">
                  <a:solidFill>
                    <a:srgbClr val="002050"/>
                  </a:solidFill>
                  <a:latin typeface="Segoe UI Light"/>
                </a:rPr>
                <a:t>”</a:t>
              </a:r>
              <a:endParaRPr lang="en-US" sz="2800" dirty="0">
                <a:solidFill>
                  <a:srgbClr val="002050"/>
                </a:solidFill>
                <a:latin typeface="Segoe UI Light"/>
              </a:endParaRPr>
            </a:p>
          </p:txBody>
        </p:sp>
        <p:sp>
          <p:nvSpPr>
            <p:cNvPr id="69" name="Rectangle 68"/>
            <p:cNvSpPr/>
            <p:nvPr/>
          </p:nvSpPr>
          <p:spPr bwMode="auto">
            <a:xfrm>
              <a:off x="739649" y="2272453"/>
              <a:ext cx="11696826" cy="105023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002050"/>
                  </a:solidFill>
                  <a:latin typeface="Segoe UI Light"/>
                </a:rPr>
                <a:t>“We are required to innovate and deliver much faster</a:t>
              </a:r>
              <a:r>
                <a:rPr lang="en-US" sz="2800" dirty="0" smtClean="0">
                  <a:solidFill>
                    <a:srgbClr val="002050"/>
                  </a:solidFill>
                  <a:latin typeface="Segoe UI Light"/>
                </a:rPr>
                <a:t>”</a:t>
              </a:r>
              <a:endParaRPr lang="en-US" sz="2800" dirty="0">
                <a:solidFill>
                  <a:srgbClr val="002050"/>
                </a:solidFill>
                <a:latin typeface="Segoe UI Light"/>
              </a:endParaRPr>
            </a:p>
          </p:txBody>
        </p:sp>
        <p:sp>
          <p:nvSpPr>
            <p:cNvPr id="70" name="Rectangle 69"/>
            <p:cNvSpPr/>
            <p:nvPr/>
          </p:nvSpPr>
          <p:spPr bwMode="auto">
            <a:xfrm>
              <a:off x="739650" y="3393653"/>
              <a:ext cx="11420474" cy="10502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002050"/>
                  </a:solidFill>
                  <a:latin typeface="Segoe UI Light"/>
                </a:rPr>
                <a:t>“I need a cross-device development strategy</a:t>
              </a:r>
              <a:r>
                <a:rPr lang="en-US" sz="2800" dirty="0" smtClean="0">
                  <a:solidFill>
                    <a:srgbClr val="002050"/>
                  </a:solidFill>
                  <a:latin typeface="Segoe UI Light"/>
                </a:rPr>
                <a:t>”</a:t>
              </a:r>
              <a:endParaRPr lang="en-US" sz="2800" dirty="0">
                <a:solidFill>
                  <a:srgbClr val="002050"/>
                </a:solidFill>
                <a:latin typeface="Segoe UI Light"/>
              </a:endParaRPr>
            </a:p>
          </p:txBody>
        </p:sp>
        <p:sp>
          <p:nvSpPr>
            <p:cNvPr id="71" name="Rectangle 70"/>
            <p:cNvSpPr/>
            <p:nvPr/>
          </p:nvSpPr>
          <p:spPr bwMode="auto">
            <a:xfrm>
              <a:off x="739649" y="4514853"/>
              <a:ext cx="11696826" cy="105023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solidFill>
                    <a:srgbClr val="002050"/>
                  </a:solidFill>
                  <a:latin typeface="Segoe UI Light"/>
                </a:rPr>
                <a:t>“Open Source enriches the platform and the community”</a:t>
              </a:r>
              <a:endParaRPr lang="en-US" sz="2800" dirty="0">
                <a:solidFill>
                  <a:srgbClr val="002050"/>
                </a:solidFill>
                <a:latin typeface="Segoe UI Light"/>
              </a:endParaRPr>
            </a:p>
          </p:txBody>
        </p:sp>
        <p:sp>
          <p:nvSpPr>
            <p:cNvPr id="72" name="Rectangle 71"/>
            <p:cNvSpPr/>
            <p:nvPr/>
          </p:nvSpPr>
          <p:spPr bwMode="auto">
            <a:xfrm>
              <a:off x="739649" y="5634781"/>
              <a:ext cx="11696826" cy="105023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002050"/>
                  </a:solidFill>
                  <a:latin typeface="Segoe UI Light"/>
                </a:rPr>
                <a:t>“…but I have existing applications to run and evolve</a:t>
              </a:r>
              <a:r>
                <a:rPr lang="en-US" sz="2800" dirty="0" smtClean="0">
                  <a:solidFill>
                    <a:srgbClr val="002050"/>
                  </a:solidFill>
                  <a:latin typeface="Segoe UI Light"/>
                </a:rPr>
                <a:t>”</a:t>
              </a:r>
              <a:endParaRPr lang="en-US" sz="2800" dirty="0">
                <a:solidFill>
                  <a:srgbClr val="002050"/>
                </a:solidFill>
                <a:latin typeface="Segoe UI Light"/>
              </a:endParaRPr>
            </a:p>
          </p:txBody>
        </p:sp>
        <p:sp>
          <p:nvSpPr>
            <p:cNvPr id="73" name="Oval 72"/>
            <p:cNvSpPr/>
            <p:nvPr/>
          </p:nvSpPr>
          <p:spPr bwMode="auto">
            <a:xfrm>
              <a:off x="333125" y="1179951"/>
              <a:ext cx="1055884" cy="1055884"/>
            </a:xfrm>
            <a:prstGeom prst="ellipse">
              <a:avLst/>
            </a:prstGeom>
            <a:solidFill>
              <a:schemeClr val="bg2"/>
            </a:solidFill>
            <a:ln w="762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p:cNvSpPr/>
            <p:nvPr/>
          </p:nvSpPr>
          <p:spPr bwMode="auto">
            <a:xfrm>
              <a:off x="333125" y="2292952"/>
              <a:ext cx="1055884" cy="1055884"/>
            </a:xfrm>
            <a:prstGeom prst="ellipse">
              <a:avLst/>
            </a:prstGeom>
            <a:solidFill>
              <a:schemeClr val="bg2"/>
            </a:solidFill>
            <a:ln w="762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333125" y="3405953"/>
              <a:ext cx="1055884" cy="1055884"/>
            </a:xfrm>
            <a:prstGeom prst="ellipse">
              <a:avLst/>
            </a:prstGeom>
            <a:solidFill>
              <a:schemeClr val="bg2"/>
            </a:solidFill>
            <a:ln w="762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Oval 75"/>
            <p:cNvSpPr/>
            <p:nvPr/>
          </p:nvSpPr>
          <p:spPr bwMode="auto">
            <a:xfrm>
              <a:off x="333125" y="4518954"/>
              <a:ext cx="1055884" cy="1055884"/>
            </a:xfrm>
            <a:prstGeom prst="ellipse">
              <a:avLst/>
            </a:prstGeom>
            <a:solidFill>
              <a:schemeClr val="bg2"/>
            </a:solidFill>
            <a:ln w="762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604029" y="1344873"/>
              <a:ext cx="514076" cy="726041"/>
              <a:chOff x="757238" y="1653257"/>
              <a:chExt cx="596030" cy="841787"/>
            </a:xfrm>
            <a:solidFill>
              <a:schemeClr val="tx1"/>
            </a:solidFill>
          </p:grpSpPr>
          <p:grpSp>
            <p:nvGrpSpPr>
              <p:cNvPr id="78" name="Group 4"/>
              <p:cNvGrpSpPr>
                <a:grpSpLocks noChangeAspect="1"/>
              </p:cNvGrpSpPr>
              <p:nvPr/>
            </p:nvGrpSpPr>
            <p:grpSpPr bwMode="auto">
              <a:xfrm>
                <a:off x="1162689" y="1653257"/>
                <a:ext cx="190579" cy="530081"/>
                <a:chOff x="3035" y="-253"/>
                <a:chExt cx="1766" cy="4912"/>
              </a:xfrm>
              <a:grpFill/>
            </p:grpSpPr>
            <p:sp>
              <p:nvSpPr>
                <p:cNvPr id="83" name="Freeform 5"/>
                <p:cNvSpPr>
                  <a:spLocks/>
                </p:cNvSpPr>
                <p:nvPr/>
              </p:nvSpPr>
              <p:spPr bwMode="auto">
                <a:xfrm>
                  <a:off x="3035" y="1081"/>
                  <a:ext cx="1766" cy="3578"/>
                </a:xfrm>
                <a:custGeom>
                  <a:avLst/>
                  <a:gdLst>
                    <a:gd name="T0" fmla="*/ 607 w 745"/>
                    <a:gd name="T1" fmla="*/ 0 h 1512"/>
                    <a:gd name="T2" fmla="*/ 137 w 745"/>
                    <a:gd name="T3" fmla="*/ 0 h 1512"/>
                    <a:gd name="T4" fmla="*/ 0 w 745"/>
                    <a:gd name="T5" fmla="*/ 138 h 1512"/>
                    <a:gd name="T6" fmla="*/ 0 w 745"/>
                    <a:gd name="T7" fmla="*/ 776 h 1512"/>
                    <a:gd name="T8" fmla="*/ 137 w 745"/>
                    <a:gd name="T9" fmla="*/ 913 h 1512"/>
                    <a:gd name="T10" fmla="*/ 137 w 745"/>
                    <a:gd name="T11" fmla="*/ 913 h 1512"/>
                    <a:gd name="T12" fmla="*/ 137 w 745"/>
                    <a:gd name="T13" fmla="*/ 1375 h 1512"/>
                    <a:gd name="T14" fmla="*/ 274 w 745"/>
                    <a:gd name="T15" fmla="*/ 1512 h 1512"/>
                    <a:gd name="T16" fmla="*/ 480 w 745"/>
                    <a:gd name="T17" fmla="*/ 1512 h 1512"/>
                    <a:gd name="T18" fmla="*/ 607 w 745"/>
                    <a:gd name="T19" fmla="*/ 1375 h 1512"/>
                    <a:gd name="T20" fmla="*/ 607 w 745"/>
                    <a:gd name="T21" fmla="*/ 913 h 1512"/>
                    <a:gd name="T22" fmla="*/ 607 w 745"/>
                    <a:gd name="T23" fmla="*/ 913 h 1512"/>
                    <a:gd name="T24" fmla="*/ 745 w 745"/>
                    <a:gd name="T25" fmla="*/ 776 h 1512"/>
                    <a:gd name="T26" fmla="*/ 745 w 745"/>
                    <a:gd name="T27" fmla="*/ 138 h 1512"/>
                    <a:gd name="T28" fmla="*/ 607 w 745"/>
                    <a:gd name="T29" fmla="*/ 0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5" h="1512">
                      <a:moveTo>
                        <a:pt x="607" y="0"/>
                      </a:moveTo>
                      <a:cubicBezTo>
                        <a:pt x="137" y="0"/>
                        <a:pt x="137" y="0"/>
                        <a:pt x="137" y="0"/>
                      </a:cubicBezTo>
                      <a:cubicBezTo>
                        <a:pt x="59" y="0"/>
                        <a:pt x="0" y="59"/>
                        <a:pt x="0" y="138"/>
                      </a:cubicBezTo>
                      <a:cubicBezTo>
                        <a:pt x="0" y="776"/>
                        <a:pt x="0" y="776"/>
                        <a:pt x="0" y="776"/>
                      </a:cubicBezTo>
                      <a:cubicBezTo>
                        <a:pt x="0" y="854"/>
                        <a:pt x="59" y="913"/>
                        <a:pt x="137" y="913"/>
                      </a:cubicBezTo>
                      <a:cubicBezTo>
                        <a:pt x="137" y="913"/>
                        <a:pt x="137" y="913"/>
                        <a:pt x="137" y="913"/>
                      </a:cubicBezTo>
                      <a:cubicBezTo>
                        <a:pt x="137" y="1375"/>
                        <a:pt x="137" y="1375"/>
                        <a:pt x="137" y="1375"/>
                      </a:cubicBezTo>
                      <a:cubicBezTo>
                        <a:pt x="137" y="1453"/>
                        <a:pt x="196" y="1512"/>
                        <a:pt x="274" y="1512"/>
                      </a:cubicBezTo>
                      <a:cubicBezTo>
                        <a:pt x="480" y="1512"/>
                        <a:pt x="480" y="1512"/>
                        <a:pt x="480" y="1512"/>
                      </a:cubicBezTo>
                      <a:cubicBezTo>
                        <a:pt x="549" y="1512"/>
                        <a:pt x="607" y="1453"/>
                        <a:pt x="607" y="1375"/>
                      </a:cubicBezTo>
                      <a:cubicBezTo>
                        <a:pt x="607" y="913"/>
                        <a:pt x="607" y="913"/>
                        <a:pt x="607" y="913"/>
                      </a:cubicBezTo>
                      <a:cubicBezTo>
                        <a:pt x="607" y="913"/>
                        <a:pt x="607" y="913"/>
                        <a:pt x="607" y="913"/>
                      </a:cubicBezTo>
                      <a:cubicBezTo>
                        <a:pt x="686" y="913"/>
                        <a:pt x="745" y="854"/>
                        <a:pt x="745" y="776"/>
                      </a:cubicBezTo>
                      <a:cubicBezTo>
                        <a:pt x="745" y="138"/>
                        <a:pt x="745" y="138"/>
                        <a:pt x="745" y="138"/>
                      </a:cubicBezTo>
                      <a:cubicBezTo>
                        <a:pt x="745" y="59"/>
                        <a:pt x="686" y="0"/>
                        <a:pt x="6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4" name="Oval 6"/>
                <p:cNvSpPr>
                  <a:spLocks noChangeArrowheads="1"/>
                </p:cNvSpPr>
                <p:nvPr/>
              </p:nvSpPr>
              <p:spPr bwMode="auto">
                <a:xfrm>
                  <a:off x="3374" y="-253"/>
                  <a:ext cx="1088" cy="1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79" name="Group 78"/>
              <p:cNvGrpSpPr/>
              <p:nvPr/>
            </p:nvGrpSpPr>
            <p:grpSpPr>
              <a:xfrm>
                <a:off x="757238" y="2144732"/>
                <a:ext cx="595988" cy="350312"/>
                <a:chOff x="630432" y="2144732"/>
                <a:chExt cx="722794" cy="350312"/>
              </a:xfrm>
              <a:grpFill/>
            </p:grpSpPr>
            <p:sp>
              <p:nvSpPr>
                <p:cNvPr id="80" name="Rectangle 79"/>
                <p:cNvSpPr/>
                <p:nvPr/>
              </p:nvSpPr>
              <p:spPr bwMode="auto">
                <a:xfrm>
                  <a:off x="1125263" y="2144732"/>
                  <a:ext cx="227963" cy="3503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bwMode="auto">
                <a:xfrm>
                  <a:off x="878290" y="2243138"/>
                  <a:ext cx="227963" cy="25190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p:cNvSpPr/>
                <p:nvPr/>
              </p:nvSpPr>
              <p:spPr bwMode="auto">
                <a:xfrm>
                  <a:off x="630432" y="2347913"/>
                  <a:ext cx="227963" cy="14367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85" name="Freeform 14"/>
            <p:cNvSpPr>
              <a:spLocks noEditPoints="1"/>
            </p:cNvSpPr>
            <p:nvPr/>
          </p:nvSpPr>
          <p:spPr bwMode="auto">
            <a:xfrm>
              <a:off x="613350" y="2492242"/>
              <a:ext cx="495434" cy="657304"/>
            </a:xfrm>
            <a:custGeom>
              <a:avLst/>
              <a:gdLst>
                <a:gd name="T0" fmla="*/ 847 w 1578"/>
                <a:gd name="T1" fmla="*/ 1215 h 2094"/>
                <a:gd name="T2" fmla="*/ 476 w 1578"/>
                <a:gd name="T3" fmla="*/ 937 h 2094"/>
                <a:gd name="T4" fmla="*/ 424 w 1578"/>
                <a:gd name="T5" fmla="*/ 990 h 2094"/>
                <a:gd name="T6" fmla="*/ 706 w 1578"/>
                <a:gd name="T7" fmla="*/ 1361 h 2094"/>
                <a:gd name="T8" fmla="*/ 862 w 1578"/>
                <a:gd name="T9" fmla="*/ 1377 h 2094"/>
                <a:gd name="T10" fmla="*/ 1395 w 1578"/>
                <a:gd name="T11" fmla="*/ 796 h 2094"/>
                <a:gd name="T12" fmla="*/ 1448 w 1578"/>
                <a:gd name="T13" fmla="*/ 770 h 2094"/>
                <a:gd name="T14" fmla="*/ 1536 w 1578"/>
                <a:gd name="T15" fmla="*/ 717 h 2094"/>
                <a:gd name="T16" fmla="*/ 1536 w 1578"/>
                <a:gd name="T17" fmla="*/ 676 h 2094"/>
                <a:gd name="T18" fmla="*/ 1416 w 1578"/>
                <a:gd name="T19" fmla="*/ 555 h 2094"/>
                <a:gd name="T20" fmla="*/ 1322 w 1578"/>
                <a:gd name="T21" fmla="*/ 608 h 2094"/>
                <a:gd name="T22" fmla="*/ 1338 w 1578"/>
                <a:gd name="T23" fmla="*/ 660 h 2094"/>
                <a:gd name="T24" fmla="*/ 977 w 1578"/>
                <a:gd name="T25" fmla="*/ 534 h 2094"/>
                <a:gd name="T26" fmla="*/ 789 w 1578"/>
                <a:gd name="T27" fmla="*/ 0 h 2094"/>
                <a:gd name="T28" fmla="*/ 601 w 1578"/>
                <a:gd name="T29" fmla="*/ 534 h 2094"/>
                <a:gd name="T30" fmla="*/ 241 w 1578"/>
                <a:gd name="T31" fmla="*/ 660 h 2094"/>
                <a:gd name="T32" fmla="*/ 256 w 1578"/>
                <a:gd name="T33" fmla="*/ 608 h 2094"/>
                <a:gd name="T34" fmla="*/ 162 w 1578"/>
                <a:gd name="T35" fmla="*/ 555 h 2094"/>
                <a:gd name="T36" fmla="*/ 42 w 1578"/>
                <a:gd name="T37" fmla="*/ 676 h 2094"/>
                <a:gd name="T38" fmla="*/ 42 w 1578"/>
                <a:gd name="T39" fmla="*/ 717 h 2094"/>
                <a:gd name="T40" fmla="*/ 131 w 1578"/>
                <a:gd name="T41" fmla="*/ 770 h 2094"/>
                <a:gd name="T42" fmla="*/ 183 w 1578"/>
                <a:gd name="T43" fmla="*/ 796 h 2094"/>
                <a:gd name="T44" fmla="*/ 789 w 1578"/>
                <a:gd name="T45" fmla="*/ 2094 h 2094"/>
                <a:gd name="T46" fmla="*/ 1395 w 1578"/>
                <a:gd name="T47" fmla="*/ 796 h 2094"/>
                <a:gd name="T48" fmla="*/ 789 w 1578"/>
                <a:gd name="T49" fmla="*/ 100 h 2094"/>
                <a:gd name="T50" fmla="*/ 857 w 1578"/>
                <a:gd name="T51" fmla="*/ 492 h 2094"/>
                <a:gd name="T52" fmla="*/ 878 w 1578"/>
                <a:gd name="T53" fmla="*/ 361 h 2094"/>
                <a:gd name="T54" fmla="*/ 904 w 1578"/>
                <a:gd name="T55" fmla="*/ 262 h 2094"/>
                <a:gd name="T56" fmla="*/ 878 w 1578"/>
                <a:gd name="T57" fmla="*/ 231 h 2094"/>
                <a:gd name="T58" fmla="*/ 706 w 1578"/>
                <a:gd name="T59" fmla="*/ 231 h 2094"/>
                <a:gd name="T60" fmla="*/ 674 w 1578"/>
                <a:gd name="T61" fmla="*/ 335 h 2094"/>
                <a:gd name="T62" fmla="*/ 721 w 1578"/>
                <a:gd name="T63" fmla="*/ 361 h 2094"/>
                <a:gd name="T64" fmla="*/ 585 w 1578"/>
                <a:gd name="T65" fmla="*/ 304 h 2094"/>
                <a:gd name="T66" fmla="*/ 194 w 1578"/>
                <a:gd name="T67" fmla="*/ 1304 h 2094"/>
                <a:gd name="T68" fmla="*/ 1385 w 1578"/>
                <a:gd name="T69" fmla="*/ 130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78" h="2094">
                  <a:moveTo>
                    <a:pt x="862" y="1230"/>
                  </a:moveTo>
                  <a:cubicBezTo>
                    <a:pt x="857" y="1225"/>
                    <a:pt x="852" y="1220"/>
                    <a:pt x="847" y="1215"/>
                  </a:cubicBezTo>
                  <a:cubicBezTo>
                    <a:pt x="847" y="1215"/>
                    <a:pt x="847" y="1215"/>
                    <a:pt x="847" y="1215"/>
                  </a:cubicBezTo>
                  <a:cubicBezTo>
                    <a:pt x="476" y="937"/>
                    <a:pt x="476" y="937"/>
                    <a:pt x="476" y="937"/>
                  </a:cubicBezTo>
                  <a:cubicBezTo>
                    <a:pt x="465" y="922"/>
                    <a:pt x="439" y="922"/>
                    <a:pt x="424" y="937"/>
                  </a:cubicBezTo>
                  <a:cubicBezTo>
                    <a:pt x="408" y="953"/>
                    <a:pt x="408" y="974"/>
                    <a:pt x="424" y="990"/>
                  </a:cubicBezTo>
                  <a:cubicBezTo>
                    <a:pt x="700" y="1361"/>
                    <a:pt x="700" y="1361"/>
                    <a:pt x="700" y="1361"/>
                  </a:cubicBezTo>
                  <a:cubicBezTo>
                    <a:pt x="706" y="1361"/>
                    <a:pt x="706" y="1361"/>
                    <a:pt x="706" y="1361"/>
                  </a:cubicBezTo>
                  <a:cubicBezTo>
                    <a:pt x="706" y="1367"/>
                    <a:pt x="711" y="1372"/>
                    <a:pt x="716" y="1377"/>
                  </a:cubicBezTo>
                  <a:cubicBezTo>
                    <a:pt x="758" y="1419"/>
                    <a:pt x="821" y="1419"/>
                    <a:pt x="862" y="1377"/>
                  </a:cubicBezTo>
                  <a:cubicBezTo>
                    <a:pt x="904" y="1335"/>
                    <a:pt x="904" y="1272"/>
                    <a:pt x="862" y="1230"/>
                  </a:cubicBezTo>
                  <a:close/>
                  <a:moveTo>
                    <a:pt x="1395" y="796"/>
                  </a:moveTo>
                  <a:cubicBezTo>
                    <a:pt x="1432" y="754"/>
                    <a:pt x="1432" y="754"/>
                    <a:pt x="1432" y="754"/>
                  </a:cubicBezTo>
                  <a:cubicBezTo>
                    <a:pt x="1448" y="770"/>
                    <a:pt x="1448" y="770"/>
                    <a:pt x="1448" y="770"/>
                  </a:cubicBezTo>
                  <a:cubicBezTo>
                    <a:pt x="1458" y="780"/>
                    <a:pt x="1474" y="780"/>
                    <a:pt x="1489" y="770"/>
                  </a:cubicBezTo>
                  <a:cubicBezTo>
                    <a:pt x="1536" y="717"/>
                    <a:pt x="1536" y="717"/>
                    <a:pt x="1536" y="717"/>
                  </a:cubicBezTo>
                  <a:cubicBezTo>
                    <a:pt x="1552" y="707"/>
                    <a:pt x="1552" y="691"/>
                    <a:pt x="1536" y="676"/>
                  </a:cubicBezTo>
                  <a:cubicBezTo>
                    <a:pt x="1536" y="676"/>
                    <a:pt x="1536" y="676"/>
                    <a:pt x="1536" y="676"/>
                  </a:cubicBezTo>
                  <a:cubicBezTo>
                    <a:pt x="1416" y="555"/>
                    <a:pt x="1416" y="555"/>
                    <a:pt x="1416" y="555"/>
                  </a:cubicBezTo>
                  <a:cubicBezTo>
                    <a:pt x="1416" y="555"/>
                    <a:pt x="1416" y="555"/>
                    <a:pt x="1416" y="555"/>
                  </a:cubicBezTo>
                  <a:cubicBezTo>
                    <a:pt x="1406" y="545"/>
                    <a:pt x="1385" y="545"/>
                    <a:pt x="1374" y="555"/>
                  </a:cubicBezTo>
                  <a:cubicBezTo>
                    <a:pt x="1322" y="608"/>
                    <a:pt x="1322" y="608"/>
                    <a:pt x="1322" y="608"/>
                  </a:cubicBezTo>
                  <a:cubicBezTo>
                    <a:pt x="1312" y="618"/>
                    <a:pt x="1312" y="634"/>
                    <a:pt x="1322" y="649"/>
                  </a:cubicBezTo>
                  <a:cubicBezTo>
                    <a:pt x="1338" y="660"/>
                    <a:pt x="1338" y="660"/>
                    <a:pt x="1338" y="660"/>
                  </a:cubicBezTo>
                  <a:cubicBezTo>
                    <a:pt x="1301" y="702"/>
                    <a:pt x="1301" y="702"/>
                    <a:pt x="1301" y="702"/>
                  </a:cubicBezTo>
                  <a:cubicBezTo>
                    <a:pt x="1207" y="623"/>
                    <a:pt x="1098" y="566"/>
                    <a:pt x="977" y="534"/>
                  </a:cubicBezTo>
                  <a:cubicBezTo>
                    <a:pt x="1045" y="482"/>
                    <a:pt x="1092" y="398"/>
                    <a:pt x="1092" y="304"/>
                  </a:cubicBezTo>
                  <a:cubicBezTo>
                    <a:pt x="1092" y="136"/>
                    <a:pt x="956" y="0"/>
                    <a:pt x="789" y="0"/>
                  </a:cubicBezTo>
                  <a:cubicBezTo>
                    <a:pt x="622" y="0"/>
                    <a:pt x="486" y="136"/>
                    <a:pt x="486" y="304"/>
                  </a:cubicBezTo>
                  <a:cubicBezTo>
                    <a:pt x="486" y="398"/>
                    <a:pt x="533" y="482"/>
                    <a:pt x="601" y="534"/>
                  </a:cubicBezTo>
                  <a:cubicBezTo>
                    <a:pt x="481" y="566"/>
                    <a:pt x="371" y="623"/>
                    <a:pt x="277" y="702"/>
                  </a:cubicBezTo>
                  <a:cubicBezTo>
                    <a:pt x="241" y="660"/>
                    <a:pt x="241" y="660"/>
                    <a:pt x="241" y="660"/>
                  </a:cubicBezTo>
                  <a:cubicBezTo>
                    <a:pt x="256" y="649"/>
                    <a:pt x="256" y="649"/>
                    <a:pt x="256" y="649"/>
                  </a:cubicBezTo>
                  <a:cubicBezTo>
                    <a:pt x="267" y="634"/>
                    <a:pt x="267" y="618"/>
                    <a:pt x="256" y="608"/>
                  </a:cubicBezTo>
                  <a:cubicBezTo>
                    <a:pt x="204" y="555"/>
                    <a:pt x="204" y="555"/>
                    <a:pt x="204" y="555"/>
                  </a:cubicBezTo>
                  <a:cubicBezTo>
                    <a:pt x="194" y="545"/>
                    <a:pt x="173" y="545"/>
                    <a:pt x="162" y="555"/>
                  </a:cubicBezTo>
                  <a:cubicBezTo>
                    <a:pt x="162" y="555"/>
                    <a:pt x="162" y="555"/>
                    <a:pt x="162" y="555"/>
                  </a:cubicBezTo>
                  <a:cubicBezTo>
                    <a:pt x="42" y="676"/>
                    <a:pt x="42" y="676"/>
                    <a:pt x="42" y="676"/>
                  </a:cubicBezTo>
                  <a:cubicBezTo>
                    <a:pt x="42" y="676"/>
                    <a:pt x="42" y="676"/>
                    <a:pt x="42" y="676"/>
                  </a:cubicBezTo>
                  <a:cubicBezTo>
                    <a:pt x="26" y="691"/>
                    <a:pt x="26" y="707"/>
                    <a:pt x="42" y="717"/>
                  </a:cubicBezTo>
                  <a:cubicBezTo>
                    <a:pt x="89" y="770"/>
                    <a:pt x="89" y="770"/>
                    <a:pt x="89" y="770"/>
                  </a:cubicBezTo>
                  <a:cubicBezTo>
                    <a:pt x="105" y="780"/>
                    <a:pt x="120" y="780"/>
                    <a:pt x="131" y="770"/>
                  </a:cubicBezTo>
                  <a:cubicBezTo>
                    <a:pt x="147" y="754"/>
                    <a:pt x="147" y="754"/>
                    <a:pt x="147" y="754"/>
                  </a:cubicBezTo>
                  <a:cubicBezTo>
                    <a:pt x="183" y="796"/>
                    <a:pt x="183" y="796"/>
                    <a:pt x="183" y="796"/>
                  </a:cubicBezTo>
                  <a:cubicBezTo>
                    <a:pt x="68" y="932"/>
                    <a:pt x="0" y="1110"/>
                    <a:pt x="0" y="1304"/>
                  </a:cubicBezTo>
                  <a:cubicBezTo>
                    <a:pt x="0" y="1738"/>
                    <a:pt x="356" y="2094"/>
                    <a:pt x="789" y="2094"/>
                  </a:cubicBezTo>
                  <a:cubicBezTo>
                    <a:pt x="1223" y="2094"/>
                    <a:pt x="1578" y="1738"/>
                    <a:pt x="1578" y="1304"/>
                  </a:cubicBezTo>
                  <a:cubicBezTo>
                    <a:pt x="1578" y="1110"/>
                    <a:pt x="1510" y="932"/>
                    <a:pt x="1395" y="796"/>
                  </a:cubicBezTo>
                  <a:close/>
                  <a:moveTo>
                    <a:pt x="585" y="304"/>
                  </a:moveTo>
                  <a:cubicBezTo>
                    <a:pt x="585" y="189"/>
                    <a:pt x="680" y="100"/>
                    <a:pt x="789" y="100"/>
                  </a:cubicBezTo>
                  <a:cubicBezTo>
                    <a:pt x="899" y="100"/>
                    <a:pt x="993" y="189"/>
                    <a:pt x="993" y="304"/>
                  </a:cubicBezTo>
                  <a:cubicBezTo>
                    <a:pt x="993" y="388"/>
                    <a:pt x="936" y="466"/>
                    <a:pt x="857" y="492"/>
                  </a:cubicBezTo>
                  <a:cubicBezTo>
                    <a:pt x="857" y="361"/>
                    <a:pt x="857" y="361"/>
                    <a:pt x="857" y="361"/>
                  </a:cubicBezTo>
                  <a:cubicBezTo>
                    <a:pt x="878" y="361"/>
                    <a:pt x="878" y="361"/>
                    <a:pt x="878" y="361"/>
                  </a:cubicBezTo>
                  <a:cubicBezTo>
                    <a:pt x="894" y="361"/>
                    <a:pt x="904" y="351"/>
                    <a:pt x="904" y="335"/>
                  </a:cubicBezTo>
                  <a:cubicBezTo>
                    <a:pt x="904" y="262"/>
                    <a:pt x="904" y="262"/>
                    <a:pt x="904" y="262"/>
                  </a:cubicBezTo>
                  <a:cubicBezTo>
                    <a:pt x="904" y="246"/>
                    <a:pt x="894" y="231"/>
                    <a:pt x="878" y="231"/>
                  </a:cubicBezTo>
                  <a:cubicBezTo>
                    <a:pt x="878" y="231"/>
                    <a:pt x="878" y="231"/>
                    <a:pt x="878" y="231"/>
                  </a:cubicBezTo>
                  <a:cubicBezTo>
                    <a:pt x="706" y="231"/>
                    <a:pt x="706" y="231"/>
                    <a:pt x="706" y="231"/>
                  </a:cubicBezTo>
                  <a:cubicBezTo>
                    <a:pt x="706" y="231"/>
                    <a:pt x="706" y="231"/>
                    <a:pt x="706" y="231"/>
                  </a:cubicBezTo>
                  <a:cubicBezTo>
                    <a:pt x="690" y="231"/>
                    <a:pt x="674" y="246"/>
                    <a:pt x="674" y="262"/>
                  </a:cubicBezTo>
                  <a:cubicBezTo>
                    <a:pt x="674" y="335"/>
                    <a:pt x="674" y="335"/>
                    <a:pt x="674" y="335"/>
                  </a:cubicBezTo>
                  <a:cubicBezTo>
                    <a:pt x="674" y="351"/>
                    <a:pt x="690" y="361"/>
                    <a:pt x="706" y="361"/>
                  </a:cubicBezTo>
                  <a:cubicBezTo>
                    <a:pt x="721" y="361"/>
                    <a:pt x="721" y="361"/>
                    <a:pt x="721" y="361"/>
                  </a:cubicBezTo>
                  <a:cubicBezTo>
                    <a:pt x="721" y="492"/>
                    <a:pt x="721" y="492"/>
                    <a:pt x="721" y="492"/>
                  </a:cubicBezTo>
                  <a:cubicBezTo>
                    <a:pt x="643" y="466"/>
                    <a:pt x="585" y="393"/>
                    <a:pt x="585" y="304"/>
                  </a:cubicBezTo>
                  <a:close/>
                  <a:moveTo>
                    <a:pt x="789" y="1901"/>
                  </a:moveTo>
                  <a:cubicBezTo>
                    <a:pt x="460" y="1901"/>
                    <a:pt x="194" y="1634"/>
                    <a:pt x="194" y="1304"/>
                  </a:cubicBezTo>
                  <a:cubicBezTo>
                    <a:pt x="194" y="974"/>
                    <a:pt x="460" y="707"/>
                    <a:pt x="789" y="707"/>
                  </a:cubicBezTo>
                  <a:cubicBezTo>
                    <a:pt x="1118" y="707"/>
                    <a:pt x="1385" y="974"/>
                    <a:pt x="1385" y="1304"/>
                  </a:cubicBezTo>
                  <a:cubicBezTo>
                    <a:pt x="1385" y="1634"/>
                    <a:pt x="1118" y="1901"/>
                    <a:pt x="789" y="190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 name="Freeform 29"/>
            <p:cNvSpPr>
              <a:spLocks noEditPoints="1"/>
            </p:cNvSpPr>
            <p:nvPr/>
          </p:nvSpPr>
          <p:spPr bwMode="black">
            <a:xfrm>
              <a:off x="567969" y="3624687"/>
              <a:ext cx="586196" cy="618417"/>
            </a:xfrm>
            <a:custGeom>
              <a:avLst/>
              <a:gdLst>
                <a:gd name="T0" fmla="*/ 43 w 1324"/>
                <a:gd name="T1" fmla="*/ 748 h 1424"/>
                <a:gd name="T2" fmla="*/ 54 w 1324"/>
                <a:gd name="T3" fmla="*/ 651 h 1424"/>
                <a:gd name="T4" fmla="*/ 43 w 1324"/>
                <a:gd name="T5" fmla="*/ 557 h 1424"/>
                <a:gd name="T6" fmla="*/ 148 w 1324"/>
                <a:gd name="T7" fmla="*/ 557 h 1424"/>
                <a:gd name="T8" fmla="*/ 137 w 1324"/>
                <a:gd name="T9" fmla="*/ 651 h 1424"/>
                <a:gd name="T10" fmla="*/ 191 w 1324"/>
                <a:gd name="T11" fmla="*/ 705 h 1424"/>
                <a:gd name="T12" fmla="*/ 94 w 1324"/>
                <a:gd name="T13" fmla="*/ 694 h 1424"/>
                <a:gd name="T14" fmla="*/ 43 w 1324"/>
                <a:gd name="T15" fmla="*/ 748 h 1424"/>
                <a:gd name="T16" fmla="*/ 469 w 1324"/>
                <a:gd name="T17" fmla="*/ 682 h 1424"/>
                <a:gd name="T18" fmla="*/ 481 w 1324"/>
                <a:gd name="T19" fmla="*/ 588 h 1424"/>
                <a:gd name="T20" fmla="*/ 375 w 1324"/>
                <a:gd name="T21" fmla="*/ 588 h 1424"/>
                <a:gd name="T22" fmla="*/ 387 w 1324"/>
                <a:gd name="T23" fmla="*/ 682 h 1424"/>
                <a:gd name="T24" fmla="*/ 375 w 1324"/>
                <a:gd name="T25" fmla="*/ 776 h 1424"/>
                <a:gd name="T26" fmla="*/ 427 w 1324"/>
                <a:gd name="T27" fmla="*/ 725 h 1424"/>
                <a:gd name="T28" fmla="*/ 523 w 1324"/>
                <a:gd name="T29" fmla="*/ 733 h 1424"/>
                <a:gd name="T30" fmla="*/ 520 w 1324"/>
                <a:gd name="T31" fmla="*/ 733 h 1424"/>
                <a:gd name="T32" fmla="*/ 833 w 1324"/>
                <a:gd name="T33" fmla="*/ 733 h 1424"/>
                <a:gd name="T34" fmla="*/ 938 w 1324"/>
                <a:gd name="T35" fmla="*/ 733 h 1424"/>
                <a:gd name="T36" fmla="*/ 978 w 1324"/>
                <a:gd name="T37" fmla="*/ 691 h 1424"/>
                <a:gd name="T38" fmla="*/ 978 w 1324"/>
                <a:gd name="T39" fmla="*/ 585 h 1424"/>
                <a:gd name="T40" fmla="*/ 884 w 1324"/>
                <a:gd name="T41" fmla="*/ 597 h 1424"/>
                <a:gd name="T42" fmla="*/ 790 w 1324"/>
                <a:gd name="T43" fmla="*/ 585 h 1424"/>
                <a:gd name="T44" fmla="*/ 790 w 1324"/>
                <a:gd name="T45" fmla="*/ 691 h 1424"/>
                <a:gd name="T46" fmla="*/ 830 w 1324"/>
                <a:gd name="T47" fmla="*/ 733 h 1424"/>
                <a:gd name="T48" fmla="*/ 716 w 1324"/>
                <a:gd name="T49" fmla="*/ 882 h 1424"/>
                <a:gd name="T50" fmla="*/ 212 w 1324"/>
                <a:gd name="T51" fmla="*/ 67 h 1424"/>
                <a:gd name="T52" fmla="*/ 271 w 1324"/>
                <a:gd name="T53" fmla="*/ 0 h 1424"/>
                <a:gd name="T54" fmla="*/ 157 w 1324"/>
                <a:gd name="T55" fmla="*/ 202 h 1424"/>
                <a:gd name="T56" fmla="*/ 184 w 1324"/>
                <a:gd name="T57" fmla="*/ 117 h 1424"/>
                <a:gd name="T58" fmla="*/ 659 w 1324"/>
                <a:gd name="T59" fmla="*/ 882 h 1424"/>
                <a:gd name="T60" fmla="*/ 600 w 1324"/>
                <a:gd name="T61" fmla="*/ 1209 h 1424"/>
                <a:gd name="T62" fmla="*/ 497 w 1324"/>
                <a:gd name="T63" fmla="*/ 1319 h 1424"/>
                <a:gd name="T64" fmla="*/ 707 w 1324"/>
                <a:gd name="T65" fmla="*/ 1319 h 1424"/>
                <a:gd name="T66" fmla="*/ 1124 w 1324"/>
                <a:gd name="T67" fmla="*/ 684 h 1424"/>
                <a:gd name="T68" fmla="*/ 1185 w 1324"/>
                <a:gd name="T69" fmla="*/ 620 h 1424"/>
                <a:gd name="T70" fmla="*/ 1064 w 1324"/>
                <a:gd name="T71" fmla="*/ 817 h 1424"/>
                <a:gd name="T72" fmla="*/ 1094 w 1324"/>
                <a:gd name="T73" fmla="*/ 733 h 1424"/>
                <a:gd name="T74" fmla="*/ 1037 w 1324"/>
                <a:gd name="T75" fmla="*/ 1012 h 1424"/>
                <a:gd name="T76" fmla="*/ 938 w 1324"/>
                <a:gd name="T77" fmla="*/ 1066 h 1424"/>
                <a:gd name="T78" fmla="*/ 762 w 1324"/>
                <a:gd name="T79" fmla="*/ 1143 h 1424"/>
                <a:gd name="T80" fmla="*/ 972 w 1324"/>
                <a:gd name="T81" fmla="*/ 1143 h 1424"/>
                <a:gd name="T82" fmla="*/ 1308 w 1324"/>
                <a:gd name="T83" fmla="*/ 831 h 1424"/>
                <a:gd name="T84" fmla="*/ 1124 w 1324"/>
                <a:gd name="T85" fmla="*/ 684 h 1424"/>
                <a:gd name="T86" fmla="*/ 288 w 1324"/>
                <a:gd name="T87" fmla="*/ 1133 h 1424"/>
                <a:gd name="T88" fmla="*/ 237 w 1324"/>
                <a:gd name="T89" fmla="*/ 817 h 1424"/>
                <a:gd name="T90" fmla="*/ 23 w 1324"/>
                <a:gd name="T91" fmla="*/ 841 h 1424"/>
                <a:gd name="T92" fmla="*/ 113 w 1324"/>
                <a:gd name="T93" fmla="*/ 866 h 1424"/>
                <a:gd name="T94" fmla="*/ 199 w 1324"/>
                <a:gd name="T95" fmla="*/ 1237 h 1424"/>
                <a:gd name="T96" fmla="*/ 410 w 1324"/>
                <a:gd name="T97" fmla="*/ 1237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24" h="1424">
                  <a:moveTo>
                    <a:pt x="43" y="748"/>
                  </a:moveTo>
                  <a:cubicBezTo>
                    <a:pt x="43" y="748"/>
                    <a:pt x="43" y="748"/>
                    <a:pt x="43" y="748"/>
                  </a:cubicBezTo>
                  <a:cubicBezTo>
                    <a:pt x="0" y="705"/>
                    <a:pt x="0" y="705"/>
                    <a:pt x="0" y="705"/>
                  </a:cubicBezTo>
                  <a:cubicBezTo>
                    <a:pt x="54" y="651"/>
                    <a:pt x="54" y="651"/>
                    <a:pt x="54" y="651"/>
                  </a:cubicBezTo>
                  <a:cubicBezTo>
                    <a:pt x="0" y="600"/>
                    <a:pt x="0" y="600"/>
                    <a:pt x="0" y="600"/>
                  </a:cubicBezTo>
                  <a:cubicBezTo>
                    <a:pt x="43" y="557"/>
                    <a:pt x="43" y="557"/>
                    <a:pt x="43" y="557"/>
                  </a:cubicBezTo>
                  <a:cubicBezTo>
                    <a:pt x="94" y="611"/>
                    <a:pt x="94" y="611"/>
                    <a:pt x="94" y="611"/>
                  </a:cubicBezTo>
                  <a:cubicBezTo>
                    <a:pt x="148" y="557"/>
                    <a:pt x="148" y="557"/>
                    <a:pt x="148" y="557"/>
                  </a:cubicBezTo>
                  <a:cubicBezTo>
                    <a:pt x="191" y="600"/>
                    <a:pt x="191" y="600"/>
                    <a:pt x="191" y="600"/>
                  </a:cubicBezTo>
                  <a:cubicBezTo>
                    <a:pt x="137" y="651"/>
                    <a:pt x="137" y="651"/>
                    <a:pt x="137" y="651"/>
                  </a:cubicBezTo>
                  <a:cubicBezTo>
                    <a:pt x="188" y="702"/>
                    <a:pt x="188" y="702"/>
                    <a:pt x="188" y="702"/>
                  </a:cubicBezTo>
                  <a:cubicBezTo>
                    <a:pt x="191" y="705"/>
                    <a:pt x="191" y="705"/>
                    <a:pt x="191" y="705"/>
                  </a:cubicBezTo>
                  <a:cubicBezTo>
                    <a:pt x="148" y="748"/>
                    <a:pt x="148" y="748"/>
                    <a:pt x="148" y="748"/>
                  </a:cubicBezTo>
                  <a:cubicBezTo>
                    <a:pt x="94" y="694"/>
                    <a:pt x="94" y="694"/>
                    <a:pt x="94" y="694"/>
                  </a:cubicBezTo>
                  <a:cubicBezTo>
                    <a:pt x="43" y="745"/>
                    <a:pt x="43" y="745"/>
                    <a:pt x="43" y="745"/>
                  </a:cubicBezTo>
                  <a:cubicBezTo>
                    <a:pt x="43" y="748"/>
                    <a:pt x="43" y="748"/>
                    <a:pt x="43" y="748"/>
                  </a:cubicBezTo>
                  <a:close/>
                  <a:moveTo>
                    <a:pt x="520" y="733"/>
                  </a:moveTo>
                  <a:cubicBezTo>
                    <a:pt x="469" y="682"/>
                    <a:pt x="469" y="682"/>
                    <a:pt x="469" y="682"/>
                  </a:cubicBezTo>
                  <a:cubicBezTo>
                    <a:pt x="523" y="628"/>
                    <a:pt x="523" y="628"/>
                    <a:pt x="523" y="628"/>
                  </a:cubicBezTo>
                  <a:cubicBezTo>
                    <a:pt x="481" y="588"/>
                    <a:pt x="481" y="588"/>
                    <a:pt x="481" y="588"/>
                  </a:cubicBezTo>
                  <a:cubicBezTo>
                    <a:pt x="427" y="640"/>
                    <a:pt x="427" y="640"/>
                    <a:pt x="427" y="640"/>
                  </a:cubicBezTo>
                  <a:cubicBezTo>
                    <a:pt x="375" y="588"/>
                    <a:pt x="375" y="588"/>
                    <a:pt x="375" y="588"/>
                  </a:cubicBezTo>
                  <a:cubicBezTo>
                    <a:pt x="333" y="628"/>
                    <a:pt x="333" y="628"/>
                    <a:pt x="333" y="628"/>
                  </a:cubicBezTo>
                  <a:cubicBezTo>
                    <a:pt x="387" y="682"/>
                    <a:pt x="387" y="682"/>
                    <a:pt x="387" y="682"/>
                  </a:cubicBezTo>
                  <a:cubicBezTo>
                    <a:pt x="333" y="733"/>
                    <a:pt x="333" y="733"/>
                    <a:pt x="333" y="733"/>
                  </a:cubicBezTo>
                  <a:cubicBezTo>
                    <a:pt x="375" y="776"/>
                    <a:pt x="375" y="776"/>
                    <a:pt x="375" y="776"/>
                  </a:cubicBezTo>
                  <a:cubicBezTo>
                    <a:pt x="375" y="776"/>
                    <a:pt x="375" y="776"/>
                    <a:pt x="375" y="776"/>
                  </a:cubicBezTo>
                  <a:cubicBezTo>
                    <a:pt x="427" y="725"/>
                    <a:pt x="427" y="725"/>
                    <a:pt x="427" y="725"/>
                  </a:cubicBezTo>
                  <a:cubicBezTo>
                    <a:pt x="481" y="776"/>
                    <a:pt x="481" y="776"/>
                    <a:pt x="481" y="776"/>
                  </a:cubicBezTo>
                  <a:cubicBezTo>
                    <a:pt x="523" y="733"/>
                    <a:pt x="523" y="733"/>
                    <a:pt x="523" y="733"/>
                  </a:cubicBezTo>
                  <a:cubicBezTo>
                    <a:pt x="520" y="733"/>
                    <a:pt x="520" y="733"/>
                    <a:pt x="520" y="733"/>
                  </a:cubicBezTo>
                  <a:cubicBezTo>
                    <a:pt x="520" y="733"/>
                    <a:pt x="520" y="733"/>
                    <a:pt x="520" y="733"/>
                  </a:cubicBezTo>
                  <a:close/>
                  <a:moveTo>
                    <a:pt x="830" y="733"/>
                  </a:moveTo>
                  <a:cubicBezTo>
                    <a:pt x="833" y="733"/>
                    <a:pt x="833" y="733"/>
                    <a:pt x="833" y="733"/>
                  </a:cubicBezTo>
                  <a:cubicBezTo>
                    <a:pt x="884" y="682"/>
                    <a:pt x="884" y="682"/>
                    <a:pt x="884" y="682"/>
                  </a:cubicBezTo>
                  <a:cubicBezTo>
                    <a:pt x="938" y="733"/>
                    <a:pt x="938" y="733"/>
                    <a:pt x="938" y="733"/>
                  </a:cubicBezTo>
                  <a:cubicBezTo>
                    <a:pt x="978" y="691"/>
                    <a:pt x="978" y="691"/>
                    <a:pt x="978" y="691"/>
                  </a:cubicBezTo>
                  <a:cubicBezTo>
                    <a:pt x="978" y="691"/>
                    <a:pt x="978" y="691"/>
                    <a:pt x="978" y="691"/>
                  </a:cubicBezTo>
                  <a:cubicBezTo>
                    <a:pt x="927" y="640"/>
                    <a:pt x="927" y="640"/>
                    <a:pt x="927" y="640"/>
                  </a:cubicBezTo>
                  <a:cubicBezTo>
                    <a:pt x="978" y="585"/>
                    <a:pt x="978" y="585"/>
                    <a:pt x="978" y="585"/>
                  </a:cubicBezTo>
                  <a:cubicBezTo>
                    <a:pt x="938" y="546"/>
                    <a:pt x="938" y="546"/>
                    <a:pt x="938" y="546"/>
                  </a:cubicBezTo>
                  <a:cubicBezTo>
                    <a:pt x="884" y="597"/>
                    <a:pt x="884" y="597"/>
                    <a:pt x="884" y="597"/>
                  </a:cubicBezTo>
                  <a:cubicBezTo>
                    <a:pt x="830" y="546"/>
                    <a:pt x="830" y="546"/>
                    <a:pt x="830" y="546"/>
                  </a:cubicBezTo>
                  <a:cubicBezTo>
                    <a:pt x="790" y="585"/>
                    <a:pt x="790" y="585"/>
                    <a:pt x="790" y="585"/>
                  </a:cubicBezTo>
                  <a:cubicBezTo>
                    <a:pt x="841" y="640"/>
                    <a:pt x="841" y="640"/>
                    <a:pt x="841" y="640"/>
                  </a:cubicBezTo>
                  <a:cubicBezTo>
                    <a:pt x="790" y="691"/>
                    <a:pt x="790" y="691"/>
                    <a:pt x="790" y="691"/>
                  </a:cubicBezTo>
                  <a:cubicBezTo>
                    <a:pt x="830" y="733"/>
                    <a:pt x="830" y="733"/>
                    <a:pt x="830" y="733"/>
                  </a:cubicBezTo>
                  <a:cubicBezTo>
                    <a:pt x="830" y="733"/>
                    <a:pt x="830" y="733"/>
                    <a:pt x="830" y="733"/>
                  </a:cubicBezTo>
                  <a:close/>
                  <a:moveTo>
                    <a:pt x="654" y="1227"/>
                  </a:moveTo>
                  <a:cubicBezTo>
                    <a:pt x="676" y="1171"/>
                    <a:pt x="716" y="1043"/>
                    <a:pt x="716" y="882"/>
                  </a:cubicBezTo>
                  <a:cubicBezTo>
                    <a:pt x="716" y="755"/>
                    <a:pt x="691" y="609"/>
                    <a:pt x="610" y="462"/>
                  </a:cubicBezTo>
                  <a:cubicBezTo>
                    <a:pt x="534" y="324"/>
                    <a:pt x="409" y="186"/>
                    <a:pt x="212" y="67"/>
                  </a:cubicBezTo>
                  <a:cubicBezTo>
                    <a:pt x="284" y="47"/>
                    <a:pt x="284" y="47"/>
                    <a:pt x="284" y="47"/>
                  </a:cubicBezTo>
                  <a:cubicBezTo>
                    <a:pt x="271" y="0"/>
                    <a:pt x="271" y="0"/>
                    <a:pt x="271" y="0"/>
                  </a:cubicBezTo>
                  <a:cubicBezTo>
                    <a:pt x="114" y="43"/>
                    <a:pt x="114" y="43"/>
                    <a:pt x="114" y="43"/>
                  </a:cubicBezTo>
                  <a:cubicBezTo>
                    <a:pt x="157" y="202"/>
                    <a:pt x="157" y="202"/>
                    <a:pt x="157" y="202"/>
                  </a:cubicBezTo>
                  <a:cubicBezTo>
                    <a:pt x="204" y="189"/>
                    <a:pt x="204" y="189"/>
                    <a:pt x="204" y="189"/>
                  </a:cubicBezTo>
                  <a:cubicBezTo>
                    <a:pt x="184" y="117"/>
                    <a:pt x="184" y="117"/>
                    <a:pt x="184" y="117"/>
                  </a:cubicBezTo>
                  <a:cubicBezTo>
                    <a:pt x="373" y="232"/>
                    <a:pt x="490" y="361"/>
                    <a:pt x="561" y="490"/>
                  </a:cubicBezTo>
                  <a:cubicBezTo>
                    <a:pt x="636" y="627"/>
                    <a:pt x="659" y="763"/>
                    <a:pt x="659" y="882"/>
                  </a:cubicBezTo>
                  <a:cubicBezTo>
                    <a:pt x="659" y="983"/>
                    <a:pt x="642" y="1072"/>
                    <a:pt x="624" y="1135"/>
                  </a:cubicBezTo>
                  <a:cubicBezTo>
                    <a:pt x="616" y="1166"/>
                    <a:pt x="607" y="1191"/>
                    <a:pt x="600" y="1209"/>
                  </a:cubicBezTo>
                  <a:cubicBezTo>
                    <a:pt x="600" y="1210"/>
                    <a:pt x="599" y="1212"/>
                    <a:pt x="598" y="1213"/>
                  </a:cubicBezTo>
                  <a:cubicBezTo>
                    <a:pt x="542" y="1216"/>
                    <a:pt x="497" y="1262"/>
                    <a:pt x="497" y="1319"/>
                  </a:cubicBezTo>
                  <a:cubicBezTo>
                    <a:pt x="497" y="1377"/>
                    <a:pt x="544" y="1424"/>
                    <a:pt x="603" y="1424"/>
                  </a:cubicBezTo>
                  <a:cubicBezTo>
                    <a:pt x="660" y="1424"/>
                    <a:pt x="707" y="1377"/>
                    <a:pt x="707" y="1319"/>
                  </a:cubicBezTo>
                  <a:cubicBezTo>
                    <a:pt x="707" y="1279"/>
                    <a:pt x="686" y="1245"/>
                    <a:pt x="654" y="1227"/>
                  </a:cubicBezTo>
                  <a:close/>
                  <a:moveTo>
                    <a:pt x="1124" y="684"/>
                  </a:moveTo>
                  <a:cubicBezTo>
                    <a:pt x="1197" y="666"/>
                    <a:pt x="1197" y="666"/>
                    <a:pt x="1197" y="666"/>
                  </a:cubicBezTo>
                  <a:cubicBezTo>
                    <a:pt x="1185" y="620"/>
                    <a:pt x="1185" y="620"/>
                    <a:pt x="1185" y="620"/>
                  </a:cubicBezTo>
                  <a:cubicBezTo>
                    <a:pt x="1026" y="658"/>
                    <a:pt x="1026" y="658"/>
                    <a:pt x="1026" y="658"/>
                  </a:cubicBezTo>
                  <a:cubicBezTo>
                    <a:pt x="1064" y="817"/>
                    <a:pt x="1064" y="817"/>
                    <a:pt x="1064" y="817"/>
                  </a:cubicBezTo>
                  <a:cubicBezTo>
                    <a:pt x="1112" y="805"/>
                    <a:pt x="1112" y="805"/>
                    <a:pt x="1112" y="805"/>
                  </a:cubicBezTo>
                  <a:cubicBezTo>
                    <a:pt x="1094" y="733"/>
                    <a:pt x="1094" y="733"/>
                    <a:pt x="1094" y="733"/>
                  </a:cubicBezTo>
                  <a:cubicBezTo>
                    <a:pt x="1244" y="824"/>
                    <a:pt x="1244" y="824"/>
                    <a:pt x="1244" y="824"/>
                  </a:cubicBezTo>
                  <a:cubicBezTo>
                    <a:pt x="1179" y="911"/>
                    <a:pt x="1101" y="972"/>
                    <a:pt x="1037" y="1012"/>
                  </a:cubicBezTo>
                  <a:cubicBezTo>
                    <a:pt x="1003" y="1034"/>
                    <a:pt x="972" y="1049"/>
                    <a:pt x="951" y="1059"/>
                  </a:cubicBezTo>
                  <a:cubicBezTo>
                    <a:pt x="946" y="1062"/>
                    <a:pt x="941" y="1064"/>
                    <a:pt x="938" y="1066"/>
                  </a:cubicBezTo>
                  <a:cubicBezTo>
                    <a:pt x="919" y="1048"/>
                    <a:pt x="894" y="1038"/>
                    <a:pt x="867" y="1038"/>
                  </a:cubicBezTo>
                  <a:cubicBezTo>
                    <a:pt x="809" y="1038"/>
                    <a:pt x="762" y="1085"/>
                    <a:pt x="762" y="1143"/>
                  </a:cubicBezTo>
                  <a:cubicBezTo>
                    <a:pt x="762" y="1201"/>
                    <a:pt x="809" y="1248"/>
                    <a:pt x="867" y="1248"/>
                  </a:cubicBezTo>
                  <a:cubicBezTo>
                    <a:pt x="925" y="1248"/>
                    <a:pt x="972" y="1201"/>
                    <a:pt x="972" y="1143"/>
                  </a:cubicBezTo>
                  <a:cubicBezTo>
                    <a:pt x="972" y="1133"/>
                    <a:pt x="970" y="1123"/>
                    <a:pt x="968" y="1114"/>
                  </a:cubicBezTo>
                  <a:cubicBezTo>
                    <a:pt x="1035" y="1084"/>
                    <a:pt x="1194" y="999"/>
                    <a:pt x="1308" y="831"/>
                  </a:cubicBezTo>
                  <a:cubicBezTo>
                    <a:pt x="1324" y="807"/>
                    <a:pt x="1324" y="807"/>
                    <a:pt x="1324" y="807"/>
                  </a:cubicBezTo>
                  <a:lnTo>
                    <a:pt x="1124" y="684"/>
                  </a:lnTo>
                  <a:close/>
                  <a:moveTo>
                    <a:pt x="304" y="1132"/>
                  </a:moveTo>
                  <a:cubicBezTo>
                    <a:pt x="299" y="1132"/>
                    <a:pt x="293" y="1132"/>
                    <a:pt x="288" y="1133"/>
                  </a:cubicBezTo>
                  <a:cubicBezTo>
                    <a:pt x="166" y="845"/>
                    <a:pt x="166" y="845"/>
                    <a:pt x="166" y="845"/>
                  </a:cubicBezTo>
                  <a:cubicBezTo>
                    <a:pt x="237" y="817"/>
                    <a:pt x="237" y="817"/>
                    <a:pt x="237" y="817"/>
                  </a:cubicBezTo>
                  <a:cubicBezTo>
                    <a:pt x="216" y="765"/>
                    <a:pt x="216" y="765"/>
                    <a:pt x="216" y="765"/>
                  </a:cubicBezTo>
                  <a:cubicBezTo>
                    <a:pt x="23" y="841"/>
                    <a:pt x="23" y="841"/>
                    <a:pt x="23" y="841"/>
                  </a:cubicBezTo>
                  <a:cubicBezTo>
                    <a:pt x="45" y="894"/>
                    <a:pt x="45" y="894"/>
                    <a:pt x="45" y="894"/>
                  </a:cubicBezTo>
                  <a:cubicBezTo>
                    <a:pt x="113" y="866"/>
                    <a:pt x="113" y="866"/>
                    <a:pt x="113" y="866"/>
                  </a:cubicBezTo>
                  <a:cubicBezTo>
                    <a:pt x="236" y="1156"/>
                    <a:pt x="236" y="1156"/>
                    <a:pt x="236" y="1156"/>
                  </a:cubicBezTo>
                  <a:cubicBezTo>
                    <a:pt x="213" y="1176"/>
                    <a:pt x="199" y="1205"/>
                    <a:pt x="199" y="1237"/>
                  </a:cubicBezTo>
                  <a:cubicBezTo>
                    <a:pt x="199" y="1295"/>
                    <a:pt x="246" y="1342"/>
                    <a:pt x="304" y="1342"/>
                  </a:cubicBezTo>
                  <a:cubicBezTo>
                    <a:pt x="362" y="1342"/>
                    <a:pt x="410" y="1295"/>
                    <a:pt x="410" y="1237"/>
                  </a:cubicBezTo>
                  <a:cubicBezTo>
                    <a:pt x="410" y="1179"/>
                    <a:pt x="362" y="1132"/>
                    <a:pt x="304" y="1132"/>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 name="Oval 86"/>
            <p:cNvSpPr/>
            <p:nvPr/>
          </p:nvSpPr>
          <p:spPr bwMode="auto">
            <a:xfrm>
              <a:off x="333125" y="5631956"/>
              <a:ext cx="1055884" cy="1055884"/>
            </a:xfrm>
            <a:prstGeom prst="ellipse">
              <a:avLst/>
            </a:prstGeom>
            <a:solidFill>
              <a:schemeClr val="tx1"/>
            </a:solidFill>
            <a:ln w="762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18"/>
            <p:cNvSpPr>
              <a:spLocks noEditPoints="1"/>
            </p:cNvSpPr>
            <p:nvPr/>
          </p:nvSpPr>
          <p:spPr bwMode="auto">
            <a:xfrm>
              <a:off x="633669" y="5811246"/>
              <a:ext cx="454797" cy="697305"/>
            </a:xfrm>
            <a:custGeom>
              <a:avLst/>
              <a:gdLst>
                <a:gd name="T0" fmla="*/ 3672 w 3672"/>
                <a:gd name="T1" fmla="*/ 1713 h 5630"/>
                <a:gd name="T2" fmla="*/ 1959 w 3672"/>
                <a:gd name="T3" fmla="*/ 1713 h 5630"/>
                <a:gd name="T4" fmla="*/ 1959 w 3672"/>
                <a:gd name="T5" fmla="*/ 0 h 5630"/>
                <a:gd name="T6" fmla="*/ 3672 w 3672"/>
                <a:gd name="T7" fmla="*/ 0 h 5630"/>
                <a:gd name="T8" fmla="*/ 3672 w 3672"/>
                <a:gd name="T9" fmla="*/ 1713 h 5630"/>
                <a:gd name="T10" fmla="*/ 3672 w 3672"/>
                <a:gd name="T11" fmla="*/ 1713 h 5630"/>
                <a:gd name="T12" fmla="*/ 3672 w 3672"/>
                <a:gd name="T13" fmla="*/ 1713 h 5630"/>
                <a:gd name="T14" fmla="*/ 1536 w 3672"/>
                <a:gd name="T15" fmla="*/ 178 h 5630"/>
                <a:gd name="T16" fmla="*/ 178 w 3672"/>
                <a:gd name="T17" fmla="*/ 178 h 5630"/>
                <a:gd name="T18" fmla="*/ 178 w 3672"/>
                <a:gd name="T19" fmla="*/ 1533 h 5630"/>
                <a:gd name="T20" fmla="*/ 1536 w 3672"/>
                <a:gd name="T21" fmla="*/ 1533 h 5630"/>
                <a:gd name="T22" fmla="*/ 1536 w 3672"/>
                <a:gd name="T23" fmla="*/ 178 h 5630"/>
                <a:gd name="T24" fmla="*/ 1536 w 3672"/>
                <a:gd name="T25" fmla="*/ 178 h 5630"/>
                <a:gd name="T26" fmla="*/ 1536 w 3672"/>
                <a:gd name="T27" fmla="*/ 178 h 5630"/>
                <a:gd name="T28" fmla="*/ 1713 w 3672"/>
                <a:gd name="T29" fmla="*/ 0 h 5630"/>
                <a:gd name="T30" fmla="*/ 1713 w 3672"/>
                <a:gd name="T31" fmla="*/ 1713 h 5630"/>
                <a:gd name="T32" fmla="*/ 0 w 3672"/>
                <a:gd name="T33" fmla="*/ 1713 h 5630"/>
                <a:gd name="T34" fmla="*/ 0 w 3672"/>
                <a:gd name="T35" fmla="*/ 0 h 5630"/>
                <a:gd name="T36" fmla="*/ 1713 w 3672"/>
                <a:gd name="T37" fmla="*/ 0 h 5630"/>
                <a:gd name="T38" fmla="*/ 1713 w 3672"/>
                <a:gd name="T39" fmla="*/ 0 h 5630"/>
                <a:gd name="T40" fmla="*/ 1713 w 3672"/>
                <a:gd name="T41" fmla="*/ 0 h 5630"/>
                <a:gd name="T42" fmla="*/ 1713 w 3672"/>
                <a:gd name="T43" fmla="*/ 0 h 5630"/>
                <a:gd name="T44" fmla="*/ 1536 w 3672"/>
                <a:gd name="T45" fmla="*/ 4097 h 5630"/>
                <a:gd name="T46" fmla="*/ 178 w 3672"/>
                <a:gd name="T47" fmla="*/ 4097 h 5630"/>
                <a:gd name="T48" fmla="*/ 178 w 3672"/>
                <a:gd name="T49" fmla="*/ 5452 h 5630"/>
                <a:gd name="T50" fmla="*/ 1536 w 3672"/>
                <a:gd name="T51" fmla="*/ 5452 h 5630"/>
                <a:gd name="T52" fmla="*/ 1536 w 3672"/>
                <a:gd name="T53" fmla="*/ 4097 h 5630"/>
                <a:gd name="T54" fmla="*/ 1536 w 3672"/>
                <a:gd name="T55" fmla="*/ 4097 h 5630"/>
                <a:gd name="T56" fmla="*/ 1536 w 3672"/>
                <a:gd name="T57" fmla="*/ 4097 h 5630"/>
                <a:gd name="T58" fmla="*/ 1713 w 3672"/>
                <a:gd name="T59" fmla="*/ 3917 h 5630"/>
                <a:gd name="T60" fmla="*/ 1713 w 3672"/>
                <a:gd name="T61" fmla="*/ 5630 h 5630"/>
                <a:gd name="T62" fmla="*/ 0 w 3672"/>
                <a:gd name="T63" fmla="*/ 5630 h 5630"/>
                <a:gd name="T64" fmla="*/ 0 w 3672"/>
                <a:gd name="T65" fmla="*/ 3917 h 5630"/>
                <a:gd name="T66" fmla="*/ 1713 w 3672"/>
                <a:gd name="T67" fmla="*/ 3917 h 5630"/>
                <a:gd name="T68" fmla="*/ 1713 w 3672"/>
                <a:gd name="T69" fmla="*/ 3917 h 5630"/>
                <a:gd name="T70" fmla="*/ 1713 w 3672"/>
                <a:gd name="T71" fmla="*/ 3917 h 5630"/>
                <a:gd name="T72" fmla="*/ 1713 w 3672"/>
                <a:gd name="T73" fmla="*/ 3917 h 5630"/>
                <a:gd name="T74" fmla="*/ 3495 w 3672"/>
                <a:gd name="T75" fmla="*/ 2136 h 5630"/>
                <a:gd name="T76" fmla="*/ 178 w 3672"/>
                <a:gd name="T77" fmla="*/ 2136 h 5630"/>
                <a:gd name="T78" fmla="*/ 178 w 3672"/>
                <a:gd name="T79" fmla="*/ 3494 h 5630"/>
                <a:gd name="T80" fmla="*/ 3495 w 3672"/>
                <a:gd name="T81" fmla="*/ 3494 h 5630"/>
                <a:gd name="T82" fmla="*/ 3495 w 3672"/>
                <a:gd name="T83" fmla="*/ 2136 h 5630"/>
                <a:gd name="T84" fmla="*/ 3495 w 3672"/>
                <a:gd name="T85" fmla="*/ 2136 h 5630"/>
                <a:gd name="T86" fmla="*/ 3495 w 3672"/>
                <a:gd name="T87" fmla="*/ 2136 h 5630"/>
                <a:gd name="T88" fmla="*/ 3672 w 3672"/>
                <a:gd name="T89" fmla="*/ 1956 h 5630"/>
                <a:gd name="T90" fmla="*/ 3672 w 3672"/>
                <a:gd name="T91" fmla="*/ 3674 h 5630"/>
                <a:gd name="T92" fmla="*/ 0 w 3672"/>
                <a:gd name="T93" fmla="*/ 3674 h 5630"/>
                <a:gd name="T94" fmla="*/ 0 w 3672"/>
                <a:gd name="T95" fmla="*/ 1956 h 5630"/>
                <a:gd name="T96" fmla="*/ 3672 w 3672"/>
                <a:gd name="T97" fmla="*/ 1956 h 5630"/>
                <a:gd name="T98" fmla="*/ 3672 w 3672"/>
                <a:gd name="T99" fmla="*/ 1956 h 5630"/>
                <a:gd name="T100" fmla="*/ 3672 w 3672"/>
                <a:gd name="T101" fmla="*/ 1956 h 5630"/>
                <a:gd name="T102" fmla="*/ 3672 w 3672"/>
                <a:gd name="T103" fmla="*/ 1956 h 5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72" h="5630">
                  <a:moveTo>
                    <a:pt x="3672" y="1713"/>
                  </a:moveTo>
                  <a:lnTo>
                    <a:pt x="1959" y="1713"/>
                  </a:lnTo>
                  <a:lnTo>
                    <a:pt x="1959" y="0"/>
                  </a:lnTo>
                  <a:lnTo>
                    <a:pt x="3672" y="0"/>
                  </a:lnTo>
                  <a:lnTo>
                    <a:pt x="3672" y="1713"/>
                  </a:lnTo>
                  <a:lnTo>
                    <a:pt x="3672" y="1713"/>
                  </a:lnTo>
                  <a:lnTo>
                    <a:pt x="3672" y="1713"/>
                  </a:lnTo>
                  <a:close/>
                  <a:moveTo>
                    <a:pt x="1536" y="178"/>
                  </a:moveTo>
                  <a:lnTo>
                    <a:pt x="178" y="178"/>
                  </a:lnTo>
                  <a:lnTo>
                    <a:pt x="178" y="1533"/>
                  </a:lnTo>
                  <a:lnTo>
                    <a:pt x="1536" y="1533"/>
                  </a:lnTo>
                  <a:lnTo>
                    <a:pt x="1536" y="178"/>
                  </a:lnTo>
                  <a:lnTo>
                    <a:pt x="1536" y="178"/>
                  </a:lnTo>
                  <a:lnTo>
                    <a:pt x="1536" y="178"/>
                  </a:lnTo>
                  <a:close/>
                  <a:moveTo>
                    <a:pt x="1713" y="0"/>
                  </a:moveTo>
                  <a:lnTo>
                    <a:pt x="1713" y="1713"/>
                  </a:lnTo>
                  <a:lnTo>
                    <a:pt x="0" y="1713"/>
                  </a:lnTo>
                  <a:lnTo>
                    <a:pt x="0" y="0"/>
                  </a:lnTo>
                  <a:lnTo>
                    <a:pt x="1713" y="0"/>
                  </a:lnTo>
                  <a:lnTo>
                    <a:pt x="1713" y="0"/>
                  </a:lnTo>
                  <a:lnTo>
                    <a:pt x="1713" y="0"/>
                  </a:lnTo>
                  <a:lnTo>
                    <a:pt x="1713" y="0"/>
                  </a:lnTo>
                  <a:close/>
                  <a:moveTo>
                    <a:pt x="1536" y="4097"/>
                  </a:moveTo>
                  <a:lnTo>
                    <a:pt x="178" y="4097"/>
                  </a:lnTo>
                  <a:lnTo>
                    <a:pt x="178" y="5452"/>
                  </a:lnTo>
                  <a:lnTo>
                    <a:pt x="1536" y="5452"/>
                  </a:lnTo>
                  <a:lnTo>
                    <a:pt x="1536" y="4097"/>
                  </a:lnTo>
                  <a:lnTo>
                    <a:pt x="1536" y="4097"/>
                  </a:lnTo>
                  <a:lnTo>
                    <a:pt x="1536" y="4097"/>
                  </a:lnTo>
                  <a:close/>
                  <a:moveTo>
                    <a:pt x="1713" y="3917"/>
                  </a:moveTo>
                  <a:lnTo>
                    <a:pt x="1713" y="5630"/>
                  </a:lnTo>
                  <a:lnTo>
                    <a:pt x="0" y="5630"/>
                  </a:lnTo>
                  <a:lnTo>
                    <a:pt x="0" y="3917"/>
                  </a:lnTo>
                  <a:lnTo>
                    <a:pt x="1713" y="3917"/>
                  </a:lnTo>
                  <a:lnTo>
                    <a:pt x="1713" y="3917"/>
                  </a:lnTo>
                  <a:lnTo>
                    <a:pt x="1713" y="3917"/>
                  </a:lnTo>
                  <a:lnTo>
                    <a:pt x="1713" y="3917"/>
                  </a:lnTo>
                  <a:close/>
                  <a:moveTo>
                    <a:pt x="3495" y="2136"/>
                  </a:moveTo>
                  <a:lnTo>
                    <a:pt x="178" y="2136"/>
                  </a:lnTo>
                  <a:lnTo>
                    <a:pt x="178" y="3494"/>
                  </a:lnTo>
                  <a:lnTo>
                    <a:pt x="3495" y="3494"/>
                  </a:lnTo>
                  <a:lnTo>
                    <a:pt x="3495" y="2136"/>
                  </a:lnTo>
                  <a:lnTo>
                    <a:pt x="3495" y="2136"/>
                  </a:lnTo>
                  <a:lnTo>
                    <a:pt x="3495" y="2136"/>
                  </a:lnTo>
                  <a:close/>
                  <a:moveTo>
                    <a:pt x="3672" y="1956"/>
                  </a:moveTo>
                  <a:lnTo>
                    <a:pt x="3672" y="3674"/>
                  </a:lnTo>
                  <a:lnTo>
                    <a:pt x="0" y="3674"/>
                  </a:lnTo>
                  <a:lnTo>
                    <a:pt x="0" y="1956"/>
                  </a:lnTo>
                  <a:lnTo>
                    <a:pt x="3672" y="1956"/>
                  </a:lnTo>
                  <a:lnTo>
                    <a:pt x="3672" y="1956"/>
                  </a:lnTo>
                  <a:lnTo>
                    <a:pt x="3672" y="1956"/>
                  </a:lnTo>
                  <a:lnTo>
                    <a:pt x="3672" y="195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89" name="Group 4"/>
            <p:cNvGrpSpPr>
              <a:grpSpLocks noChangeAspect="1"/>
            </p:cNvGrpSpPr>
            <p:nvPr/>
          </p:nvGrpSpPr>
          <p:grpSpPr bwMode="auto">
            <a:xfrm>
              <a:off x="484036" y="4719652"/>
              <a:ext cx="754063" cy="654488"/>
              <a:chOff x="850" y="-460"/>
              <a:chExt cx="6134" cy="5324"/>
            </a:xfrm>
            <a:solidFill>
              <a:schemeClr val="tx1"/>
            </a:solidFill>
          </p:grpSpPr>
          <p:sp>
            <p:nvSpPr>
              <p:cNvPr id="90" name="Freeform 5"/>
              <p:cNvSpPr>
                <a:spLocks/>
              </p:cNvSpPr>
              <p:nvPr/>
            </p:nvSpPr>
            <p:spPr bwMode="auto">
              <a:xfrm>
                <a:off x="5355" y="2075"/>
                <a:ext cx="168" cy="71"/>
              </a:xfrm>
              <a:custGeom>
                <a:avLst/>
                <a:gdLst>
                  <a:gd name="T0" fmla="*/ 0 w 168"/>
                  <a:gd name="T1" fmla="*/ 0 h 71"/>
                  <a:gd name="T2" fmla="*/ 168 w 168"/>
                  <a:gd name="T3" fmla="*/ 0 h 71"/>
                  <a:gd name="T4" fmla="*/ 168 w 168"/>
                  <a:gd name="T5" fmla="*/ 71 h 71"/>
                  <a:gd name="T6" fmla="*/ 0 w 168"/>
                  <a:gd name="T7" fmla="*/ 71 h 71"/>
                  <a:gd name="T8" fmla="*/ 0 w 168"/>
                  <a:gd name="T9" fmla="*/ 0 h 71"/>
                  <a:gd name="T10" fmla="*/ 0 w 168"/>
                  <a:gd name="T11" fmla="*/ 0 h 71"/>
                </a:gdLst>
                <a:ahLst/>
                <a:cxnLst>
                  <a:cxn ang="0">
                    <a:pos x="T0" y="T1"/>
                  </a:cxn>
                  <a:cxn ang="0">
                    <a:pos x="T2" y="T3"/>
                  </a:cxn>
                  <a:cxn ang="0">
                    <a:pos x="T4" y="T5"/>
                  </a:cxn>
                  <a:cxn ang="0">
                    <a:pos x="T6" y="T7"/>
                  </a:cxn>
                  <a:cxn ang="0">
                    <a:pos x="T8" y="T9"/>
                  </a:cxn>
                  <a:cxn ang="0">
                    <a:pos x="T10" y="T11"/>
                  </a:cxn>
                </a:cxnLst>
                <a:rect l="0" t="0" r="r" b="b"/>
                <a:pathLst>
                  <a:path w="168" h="71">
                    <a:moveTo>
                      <a:pt x="0" y="0"/>
                    </a:moveTo>
                    <a:lnTo>
                      <a:pt x="168" y="0"/>
                    </a:lnTo>
                    <a:lnTo>
                      <a:pt x="168" y="71"/>
                    </a:lnTo>
                    <a:lnTo>
                      <a:pt x="0" y="7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 name="Freeform 6"/>
              <p:cNvSpPr>
                <a:spLocks/>
              </p:cNvSpPr>
              <p:nvPr/>
            </p:nvSpPr>
            <p:spPr bwMode="auto">
              <a:xfrm>
                <a:off x="5691" y="2075"/>
                <a:ext cx="163" cy="71"/>
              </a:xfrm>
              <a:custGeom>
                <a:avLst/>
                <a:gdLst>
                  <a:gd name="T0" fmla="*/ 0 w 163"/>
                  <a:gd name="T1" fmla="*/ 0 h 71"/>
                  <a:gd name="T2" fmla="*/ 163 w 163"/>
                  <a:gd name="T3" fmla="*/ 0 h 71"/>
                  <a:gd name="T4" fmla="*/ 163 w 163"/>
                  <a:gd name="T5" fmla="*/ 71 h 71"/>
                  <a:gd name="T6" fmla="*/ 0 w 163"/>
                  <a:gd name="T7" fmla="*/ 71 h 71"/>
                  <a:gd name="T8" fmla="*/ 0 w 163"/>
                  <a:gd name="T9" fmla="*/ 0 h 71"/>
                  <a:gd name="T10" fmla="*/ 0 w 163"/>
                  <a:gd name="T11" fmla="*/ 0 h 71"/>
                </a:gdLst>
                <a:ahLst/>
                <a:cxnLst>
                  <a:cxn ang="0">
                    <a:pos x="T0" y="T1"/>
                  </a:cxn>
                  <a:cxn ang="0">
                    <a:pos x="T2" y="T3"/>
                  </a:cxn>
                  <a:cxn ang="0">
                    <a:pos x="T4" y="T5"/>
                  </a:cxn>
                  <a:cxn ang="0">
                    <a:pos x="T6" y="T7"/>
                  </a:cxn>
                  <a:cxn ang="0">
                    <a:pos x="T8" y="T9"/>
                  </a:cxn>
                  <a:cxn ang="0">
                    <a:pos x="T10" y="T11"/>
                  </a:cxn>
                </a:cxnLst>
                <a:rect l="0" t="0" r="r" b="b"/>
                <a:pathLst>
                  <a:path w="163" h="71">
                    <a:moveTo>
                      <a:pt x="0" y="0"/>
                    </a:moveTo>
                    <a:lnTo>
                      <a:pt x="163" y="0"/>
                    </a:lnTo>
                    <a:lnTo>
                      <a:pt x="163" y="71"/>
                    </a:lnTo>
                    <a:lnTo>
                      <a:pt x="0" y="7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2" name="Freeform 7"/>
              <p:cNvSpPr>
                <a:spLocks/>
              </p:cNvSpPr>
              <p:nvPr/>
            </p:nvSpPr>
            <p:spPr bwMode="auto">
              <a:xfrm>
                <a:off x="1765" y="2075"/>
                <a:ext cx="168" cy="71"/>
              </a:xfrm>
              <a:custGeom>
                <a:avLst/>
                <a:gdLst>
                  <a:gd name="T0" fmla="*/ 0 w 168"/>
                  <a:gd name="T1" fmla="*/ 0 h 71"/>
                  <a:gd name="T2" fmla="*/ 168 w 168"/>
                  <a:gd name="T3" fmla="*/ 0 h 71"/>
                  <a:gd name="T4" fmla="*/ 168 w 168"/>
                  <a:gd name="T5" fmla="*/ 71 h 71"/>
                  <a:gd name="T6" fmla="*/ 0 w 168"/>
                  <a:gd name="T7" fmla="*/ 71 h 71"/>
                  <a:gd name="T8" fmla="*/ 0 w 168"/>
                  <a:gd name="T9" fmla="*/ 0 h 71"/>
                  <a:gd name="T10" fmla="*/ 0 w 168"/>
                  <a:gd name="T11" fmla="*/ 0 h 71"/>
                </a:gdLst>
                <a:ahLst/>
                <a:cxnLst>
                  <a:cxn ang="0">
                    <a:pos x="T0" y="T1"/>
                  </a:cxn>
                  <a:cxn ang="0">
                    <a:pos x="T2" y="T3"/>
                  </a:cxn>
                  <a:cxn ang="0">
                    <a:pos x="T4" y="T5"/>
                  </a:cxn>
                  <a:cxn ang="0">
                    <a:pos x="T6" y="T7"/>
                  </a:cxn>
                  <a:cxn ang="0">
                    <a:pos x="T8" y="T9"/>
                  </a:cxn>
                  <a:cxn ang="0">
                    <a:pos x="T10" y="T11"/>
                  </a:cxn>
                </a:cxnLst>
                <a:rect l="0" t="0" r="r" b="b"/>
                <a:pathLst>
                  <a:path w="168" h="71">
                    <a:moveTo>
                      <a:pt x="0" y="0"/>
                    </a:moveTo>
                    <a:lnTo>
                      <a:pt x="168" y="0"/>
                    </a:lnTo>
                    <a:lnTo>
                      <a:pt x="168" y="71"/>
                    </a:lnTo>
                    <a:lnTo>
                      <a:pt x="0" y="7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 name="Freeform 8"/>
              <p:cNvSpPr>
                <a:spLocks/>
              </p:cNvSpPr>
              <p:nvPr/>
            </p:nvSpPr>
            <p:spPr bwMode="auto">
              <a:xfrm>
                <a:off x="2105" y="2075"/>
                <a:ext cx="166" cy="71"/>
              </a:xfrm>
              <a:custGeom>
                <a:avLst/>
                <a:gdLst>
                  <a:gd name="T0" fmla="*/ 0 w 166"/>
                  <a:gd name="T1" fmla="*/ 0 h 71"/>
                  <a:gd name="T2" fmla="*/ 166 w 166"/>
                  <a:gd name="T3" fmla="*/ 0 h 71"/>
                  <a:gd name="T4" fmla="*/ 166 w 166"/>
                  <a:gd name="T5" fmla="*/ 71 h 71"/>
                  <a:gd name="T6" fmla="*/ 0 w 166"/>
                  <a:gd name="T7" fmla="*/ 71 h 71"/>
                  <a:gd name="T8" fmla="*/ 0 w 166"/>
                  <a:gd name="T9" fmla="*/ 0 h 71"/>
                  <a:gd name="T10" fmla="*/ 0 w 166"/>
                  <a:gd name="T11" fmla="*/ 0 h 71"/>
                </a:gdLst>
                <a:ahLst/>
                <a:cxnLst>
                  <a:cxn ang="0">
                    <a:pos x="T0" y="T1"/>
                  </a:cxn>
                  <a:cxn ang="0">
                    <a:pos x="T2" y="T3"/>
                  </a:cxn>
                  <a:cxn ang="0">
                    <a:pos x="T4" y="T5"/>
                  </a:cxn>
                  <a:cxn ang="0">
                    <a:pos x="T6" y="T7"/>
                  </a:cxn>
                  <a:cxn ang="0">
                    <a:pos x="T8" y="T9"/>
                  </a:cxn>
                  <a:cxn ang="0">
                    <a:pos x="T10" y="T11"/>
                  </a:cxn>
                </a:cxnLst>
                <a:rect l="0" t="0" r="r" b="b"/>
                <a:pathLst>
                  <a:path w="166" h="71">
                    <a:moveTo>
                      <a:pt x="0" y="0"/>
                    </a:moveTo>
                    <a:lnTo>
                      <a:pt x="166" y="0"/>
                    </a:lnTo>
                    <a:lnTo>
                      <a:pt x="166" y="71"/>
                    </a:lnTo>
                    <a:lnTo>
                      <a:pt x="0" y="7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 name="Freeform 9"/>
              <p:cNvSpPr>
                <a:spLocks/>
              </p:cNvSpPr>
              <p:nvPr/>
            </p:nvSpPr>
            <p:spPr bwMode="auto">
              <a:xfrm>
                <a:off x="2943" y="857"/>
                <a:ext cx="149" cy="180"/>
              </a:xfrm>
              <a:custGeom>
                <a:avLst/>
                <a:gdLst>
                  <a:gd name="T0" fmla="*/ 82 w 149"/>
                  <a:gd name="T1" fmla="*/ 180 h 180"/>
                  <a:gd name="T2" fmla="*/ 149 w 149"/>
                  <a:gd name="T3" fmla="*/ 147 h 180"/>
                  <a:gd name="T4" fmla="*/ 61 w 149"/>
                  <a:gd name="T5" fmla="*/ 0 h 180"/>
                  <a:gd name="T6" fmla="*/ 0 w 149"/>
                  <a:gd name="T7" fmla="*/ 40 h 180"/>
                  <a:gd name="T8" fmla="*/ 82 w 149"/>
                  <a:gd name="T9" fmla="*/ 180 h 180"/>
                  <a:gd name="T10" fmla="*/ 82 w 149"/>
                  <a:gd name="T11" fmla="*/ 180 h 180"/>
                  <a:gd name="T12" fmla="*/ 82 w 149"/>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49" h="180">
                    <a:moveTo>
                      <a:pt x="82" y="180"/>
                    </a:moveTo>
                    <a:lnTo>
                      <a:pt x="149" y="147"/>
                    </a:lnTo>
                    <a:lnTo>
                      <a:pt x="61" y="0"/>
                    </a:lnTo>
                    <a:lnTo>
                      <a:pt x="0" y="40"/>
                    </a:lnTo>
                    <a:lnTo>
                      <a:pt x="82" y="180"/>
                    </a:lnTo>
                    <a:lnTo>
                      <a:pt x="82" y="180"/>
                    </a:lnTo>
                    <a:lnTo>
                      <a:pt x="8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 name="Freeform 10"/>
              <p:cNvSpPr>
                <a:spLocks/>
              </p:cNvSpPr>
              <p:nvPr/>
            </p:nvSpPr>
            <p:spPr bwMode="auto">
              <a:xfrm>
                <a:off x="3111" y="1153"/>
                <a:ext cx="144" cy="180"/>
              </a:xfrm>
              <a:custGeom>
                <a:avLst/>
                <a:gdLst>
                  <a:gd name="T0" fmla="*/ 82 w 144"/>
                  <a:gd name="T1" fmla="*/ 180 h 180"/>
                  <a:gd name="T2" fmla="*/ 144 w 144"/>
                  <a:gd name="T3" fmla="*/ 139 h 180"/>
                  <a:gd name="T4" fmla="*/ 61 w 144"/>
                  <a:gd name="T5" fmla="*/ 0 h 180"/>
                  <a:gd name="T6" fmla="*/ 0 w 144"/>
                  <a:gd name="T7" fmla="*/ 33 h 180"/>
                  <a:gd name="T8" fmla="*/ 82 w 144"/>
                  <a:gd name="T9" fmla="*/ 180 h 180"/>
                  <a:gd name="T10" fmla="*/ 82 w 144"/>
                  <a:gd name="T11" fmla="*/ 180 h 180"/>
                  <a:gd name="T12" fmla="*/ 82 w 144"/>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44" h="180">
                    <a:moveTo>
                      <a:pt x="82" y="180"/>
                    </a:moveTo>
                    <a:lnTo>
                      <a:pt x="144" y="139"/>
                    </a:lnTo>
                    <a:lnTo>
                      <a:pt x="61" y="0"/>
                    </a:lnTo>
                    <a:lnTo>
                      <a:pt x="0" y="33"/>
                    </a:lnTo>
                    <a:lnTo>
                      <a:pt x="82" y="180"/>
                    </a:lnTo>
                    <a:lnTo>
                      <a:pt x="82" y="180"/>
                    </a:lnTo>
                    <a:lnTo>
                      <a:pt x="8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 name="Freeform 11"/>
              <p:cNvSpPr>
                <a:spLocks/>
              </p:cNvSpPr>
              <p:nvPr/>
            </p:nvSpPr>
            <p:spPr bwMode="auto">
              <a:xfrm>
                <a:off x="4352" y="1153"/>
                <a:ext cx="144" cy="180"/>
              </a:xfrm>
              <a:custGeom>
                <a:avLst/>
                <a:gdLst>
                  <a:gd name="T0" fmla="*/ 62 w 144"/>
                  <a:gd name="T1" fmla="*/ 180 h 180"/>
                  <a:gd name="T2" fmla="*/ 144 w 144"/>
                  <a:gd name="T3" fmla="*/ 33 h 180"/>
                  <a:gd name="T4" fmla="*/ 85 w 144"/>
                  <a:gd name="T5" fmla="*/ 0 h 180"/>
                  <a:gd name="T6" fmla="*/ 0 w 144"/>
                  <a:gd name="T7" fmla="*/ 139 h 180"/>
                  <a:gd name="T8" fmla="*/ 62 w 144"/>
                  <a:gd name="T9" fmla="*/ 180 h 180"/>
                  <a:gd name="T10" fmla="*/ 62 w 144"/>
                  <a:gd name="T11" fmla="*/ 180 h 180"/>
                  <a:gd name="T12" fmla="*/ 62 w 144"/>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44" h="180">
                    <a:moveTo>
                      <a:pt x="62" y="180"/>
                    </a:moveTo>
                    <a:lnTo>
                      <a:pt x="144" y="33"/>
                    </a:lnTo>
                    <a:lnTo>
                      <a:pt x="85" y="0"/>
                    </a:lnTo>
                    <a:lnTo>
                      <a:pt x="0" y="139"/>
                    </a:lnTo>
                    <a:lnTo>
                      <a:pt x="62" y="180"/>
                    </a:lnTo>
                    <a:lnTo>
                      <a:pt x="62" y="180"/>
                    </a:lnTo>
                    <a:lnTo>
                      <a:pt x="6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7" name="Freeform 12"/>
              <p:cNvSpPr>
                <a:spLocks/>
              </p:cNvSpPr>
              <p:nvPr/>
            </p:nvSpPr>
            <p:spPr bwMode="auto">
              <a:xfrm>
                <a:off x="4520" y="857"/>
                <a:ext cx="144" cy="180"/>
              </a:xfrm>
              <a:custGeom>
                <a:avLst/>
                <a:gdLst>
                  <a:gd name="T0" fmla="*/ 62 w 144"/>
                  <a:gd name="T1" fmla="*/ 180 h 180"/>
                  <a:gd name="T2" fmla="*/ 144 w 144"/>
                  <a:gd name="T3" fmla="*/ 40 h 180"/>
                  <a:gd name="T4" fmla="*/ 85 w 144"/>
                  <a:gd name="T5" fmla="*/ 0 h 180"/>
                  <a:gd name="T6" fmla="*/ 0 w 144"/>
                  <a:gd name="T7" fmla="*/ 147 h 180"/>
                  <a:gd name="T8" fmla="*/ 62 w 144"/>
                  <a:gd name="T9" fmla="*/ 180 h 180"/>
                  <a:gd name="T10" fmla="*/ 62 w 144"/>
                  <a:gd name="T11" fmla="*/ 180 h 180"/>
                  <a:gd name="T12" fmla="*/ 62 w 144"/>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44" h="180">
                    <a:moveTo>
                      <a:pt x="62" y="180"/>
                    </a:moveTo>
                    <a:lnTo>
                      <a:pt x="144" y="40"/>
                    </a:lnTo>
                    <a:lnTo>
                      <a:pt x="85" y="0"/>
                    </a:lnTo>
                    <a:lnTo>
                      <a:pt x="0" y="147"/>
                    </a:lnTo>
                    <a:lnTo>
                      <a:pt x="62" y="180"/>
                    </a:lnTo>
                    <a:lnTo>
                      <a:pt x="62" y="180"/>
                    </a:lnTo>
                    <a:lnTo>
                      <a:pt x="6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8" name="Freeform 13"/>
              <p:cNvSpPr>
                <a:spLocks/>
              </p:cNvSpPr>
              <p:nvPr/>
            </p:nvSpPr>
            <p:spPr bwMode="auto">
              <a:xfrm>
                <a:off x="3111" y="3010"/>
                <a:ext cx="144" cy="184"/>
              </a:xfrm>
              <a:custGeom>
                <a:avLst/>
                <a:gdLst>
                  <a:gd name="T0" fmla="*/ 0 w 144"/>
                  <a:gd name="T1" fmla="*/ 151 h 184"/>
                  <a:gd name="T2" fmla="*/ 61 w 144"/>
                  <a:gd name="T3" fmla="*/ 184 h 184"/>
                  <a:gd name="T4" fmla="*/ 144 w 144"/>
                  <a:gd name="T5" fmla="*/ 33 h 184"/>
                  <a:gd name="T6" fmla="*/ 82 w 144"/>
                  <a:gd name="T7" fmla="*/ 0 h 184"/>
                  <a:gd name="T8" fmla="*/ 0 w 144"/>
                  <a:gd name="T9" fmla="*/ 151 h 184"/>
                  <a:gd name="T10" fmla="*/ 0 w 144"/>
                  <a:gd name="T11" fmla="*/ 151 h 184"/>
                  <a:gd name="T12" fmla="*/ 0 w 144"/>
                  <a:gd name="T13" fmla="*/ 151 h 184"/>
                </a:gdLst>
                <a:ahLst/>
                <a:cxnLst>
                  <a:cxn ang="0">
                    <a:pos x="T0" y="T1"/>
                  </a:cxn>
                  <a:cxn ang="0">
                    <a:pos x="T2" y="T3"/>
                  </a:cxn>
                  <a:cxn ang="0">
                    <a:pos x="T4" y="T5"/>
                  </a:cxn>
                  <a:cxn ang="0">
                    <a:pos x="T6" y="T7"/>
                  </a:cxn>
                  <a:cxn ang="0">
                    <a:pos x="T8" y="T9"/>
                  </a:cxn>
                  <a:cxn ang="0">
                    <a:pos x="T10" y="T11"/>
                  </a:cxn>
                  <a:cxn ang="0">
                    <a:pos x="T12" y="T13"/>
                  </a:cxn>
                </a:cxnLst>
                <a:rect l="0" t="0" r="r" b="b"/>
                <a:pathLst>
                  <a:path w="144" h="184">
                    <a:moveTo>
                      <a:pt x="0" y="151"/>
                    </a:moveTo>
                    <a:lnTo>
                      <a:pt x="61" y="184"/>
                    </a:lnTo>
                    <a:lnTo>
                      <a:pt x="144" y="33"/>
                    </a:lnTo>
                    <a:lnTo>
                      <a:pt x="82" y="0"/>
                    </a:lnTo>
                    <a:lnTo>
                      <a:pt x="0" y="151"/>
                    </a:lnTo>
                    <a:lnTo>
                      <a:pt x="0" y="151"/>
                    </a:lnTo>
                    <a:lnTo>
                      <a:pt x="0"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 name="Freeform 14"/>
              <p:cNvSpPr>
                <a:spLocks/>
              </p:cNvSpPr>
              <p:nvPr/>
            </p:nvSpPr>
            <p:spPr bwMode="auto">
              <a:xfrm>
                <a:off x="2943" y="3300"/>
                <a:ext cx="149" cy="185"/>
              </a:xfrm>
              <a:custGeom>
                <a:avLst/>
                <a:gdLst>
                  <a:gd name="T0" fmla="*/ 0 w 149"/>
                  <a:gd name="T1" fmla="*/ 147 h 185"/>
                  <a:gd name="T2" fmla="*/ 61 w 149"/>
                  <a:gd name="T3" fmla="*/ 185 h 185"/>
                  <a:gd name="T4" fmla="*/ 149 w 149"/>
                  <a:gd name="T5" fmla="*/ 41 h 185"/>
                  <a:gd name="T6" fmla="*/ 82 w 149"/>
                  <a:gd name="T7" fmla="*/ 0 h 185"/>
                  <a:gd name="T8" fmla="*/ 0 w 149"/>
                  <a:gd name="T9" fmla="*/ 147 h 185"/>
                  <a:gd name="T10" fmla="*/ 0 w 149"/>
                  <a:gd name="T11" fmla="*/ 147 h 185"/>
                  <a:gd name="T12" fmla="*/ 0 w 149"/>
                  <a:gd name="T13" fmla="*/ 147 h 185"/>
                </a:gdLst>
                <a:ahLst/>
                <a:cxnLst>
                  <a:cxn ang="0">
                    <a:pos x="T0" y="T1"/>
                  </a:cxn>
                  <a:cxn ang="0">
                    <a:pos x="T2" y="T3"/>
                  </a:cxn>
                  <a:cxn ang="0">
                    <a:pos x="T4" y="T5"/>
                  </a:cxn>
                  <a:cxn ang="0">
                    <a:pos x="T6" y="T7"/>
                  </a:cxn>
                  <a:cxn ang="0">
                    <a:pos x="T8" y="T9"/>
                  </a:cxn>
                  <a:cxn ang="0">
                    <a:pos x="T10" y="T11"/>
                  </a:cxn>
                  <a:cxn ang="0">
                    <a:pos x="T12" y="T13"/>
                  </a:cxn>
                </a:cxnLst>
                <a:rect l="0" t="0" r="r" b="b"/>
                <a:pathLst>
                  <a:path w="149" h="185">
                    <a:moveTo>
                      <a:pt x="0" y="147"/>
                    </a:moveTo>
                    <a:lnTo>
                      <a:pt x="61" y="185"/>
                    </a:lnTo>
                    <a:lnTo>
                      <a:pt x="149" y="41"/>
                    </a:lnTo>
                    <a:lnTo>
                      <a:pt x="82" y="0"/>
                    </a:lnTo>
                    <a:lnTo>
                      <a:pt x="0" y="147"/>
                    </a:lnTo>
                    <a:lnTo>
                      <a:pt x="0" y="147"/>
                    </a:lnTo>
                    <a:lnTo>
                      <a:pt x="0"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 name="Freeform 15"/>
              <p:cNvSpPr>
                <a:spLocks/>
              </p:cNvSpPr>
              <p:nvPr/>
            </p:nvSpPr>
            <p:spPr bwMode="auto">
              <a:xfrm>
                <a:off x="4520" y="3300"/>
                <a:ext cx="144" cy="185"/>
              </a:xfrm>
              <a:custGeom>
                <a:avLst/>
                <a:gdLst>
                  <a:gd name="T0" fmla="*/ 62 w 144"/>
                  <a:gd name="T1" fmla="*/ 0 h 185"/>
                  <a:gd name="T2" fmla="*/ 0 w 144"/>
                  <a:gd name="T3" fmla="*/ 41 h 185"/>
                  <a:gd name="T4" fmla="*/ 85 w 144"/>
                  <a:gd name="T5" fmla="*/ 185 h 185"/>
                  <a:gd name="T6" fmla="*/ 144 w 144"/>
                  <a:gd name="T7" fmla="*/ 147 h 185"/>
                  <a:gd name="T8" fmla="*/ 62 w 144"/>
                  <a:gd name="T9" fmla="*/ 0 h 185"/>
                  <a:gd name="T10" fmla="*/ 62 w 144"/>
                  <a:gd name="T11" fmla="*/ 0 h 185"/>
                  <a:gd name="T12" fmla="*/ 62 w 144"/>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144" h="185">
                    <a:moveTo>
                      <a:pt x="62" y="0"/>
                    </a:moveTo>
                    <a:lnTo>
                      <a:pt x="0" y="41"/>
                    </a:lnTo>
                    <a:lnTo>
                      <a:pt x="85" y="185"/>
                    </a:lnTo>
                    <a:lnTo>
                      <a:pt x="144" y="147"/>
                    </a:lnTo>
                    <a:lnTo>
                      <a:pt x="62" y="0"/>
                    </a:lnTo>
                    <a:lnTo>
                      <a:pt x="62" y="0"/>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 name="Freeform 16"/>
              <p:cNvSpPr>
                <a:spLocks/>
              </p:cNvSpPr>
              <p:nvPr/>
            </p:nvSpPr>
            <p:spPr bwMode="auto">
              <a:xfrm>
                <a:off x="4352" y="3010"/>
                <a:ext cx="144" cy="184"/>
              </a:xfrm>
              <a:custGeom>
                <a:avLst/>
                <a:gdLst>
                  <a:gd name="T0" fmla="*/ 0 w 144"/>
                  <a:gd name="T1" fmla="*/ 33 h 184"/>
                  <a:gd name="T2" fmla="*/ 85 w 144"/>
                  <a:gd name="T3" fmla="*/ 184 h 184"/>
                  <a:gd name="T4" fmla="*/ 144 w 144"/>
                  <a:gd name="T5" fmla="*/ 151 h 184"/>
                  <a:gd name="T6" fmla="*/ 62 w 144"/>
                  <a:gd name="T7" fmla="*/ 0 h 184"/>
                  <a:gd name="T8" fmla="*/ 0 w 144"/>
                  <a:gd name="T9" fmla="*/ 33 h 184"/>
                  <a:gd name="T10" fmla="*/ 0 w 144"/>
                  <a:gd name="T11" fmla="*/ 33 h 184"/>
                  <a:gd name="T12" fmla="*/ 0 w 144"/>
                  <a:gd name="T13" fmla="*/ 33 h 184"/>
                </a:gdLst>
                <a:ahLst/>
                <a:cxnLst>
                  <a:cxn ang="0">
                    <a:pos x="T0" y="T1"/>
                  </a:cxn>
                  <a:cxn ang="0">
                    <a:pos x="T2" y="T3"/>
                  </a:cxn>
                  <a:cxn ang="0">
                    <a:pos x="T4" y="T5"/>
                  </a:cxn>
                  <a:cxn ang="0">
                    <a:pos x="T6" y="T7"/>
                  </a:cxn>
                  <a:cxn ang="0">
                    <a:pos x="T8" y="T9"/>
                  </a:cxn>
                  <a:cxn ang="0">
                    <a:pos x="T10" y="T11"/>
                  </a:cxn>
                  <a:cxn ang="0">
                    <a:pos x="T12" y="T13"/>
                  </a:cxn>
                </a:cxnLst>
                <a:rect l="0" t="0" r="r" b="b"/>
                <a:pathLst>
                  <a:path w="144" h="184">
                    <a:moveTo>
                      <a:pt x="0" y="33"/>
                    </a:moveTo>
                    <a:lnTo>
                      <a:pt x="85" y="184"/>
                    </a:lnTo>
                    <a:lnTo>
                      <a:pt x="144" y="151"/>
                    </a:lnTo>
                    <a:lnTo>
                      <a:pt x="62" y="0"/>
                    </a:lnTo>
                    <a:lnTo>
                      <a:pt x="0" y="33"/>
                    </a:lnTo>
                    <a:lnTo>
                      <a:pt x="0" y="33"/>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 name="Freeform 17"/>
              <p:cNvSpPr>
                <a:spLocks/>
              </p:cNvSpPr>
              <p:nvPr/>
            </p:nvSpPr>
            <p:spPr bwMode="auto">
              <a:xfrm>
                <a:off x="2472" y="1415"/>
                <a:ext cx="2663" cy="1554"/>
              </a:xfrm>
              <a:custGeom>
                <a:avLst/>
                <a:gdLst>
                  <a:gd name="T0" fmla="*/ 956 w 1126"/>
                  <a:gd name="T1" fmla="*/ 512 h 657"/>
                  <a:gd name="T2" fmla="*/ 1126 w 1126"/>
                  <a:gd name="T3" fmla="*/ 342 h 657"/>
                  <a:gd name="T4" fmla="*/ 956 w 1126"/>
                  <a:gd name="T5" fmla="*/ 171 h 657"/>
                  <a:gd name="T6" fmla="*/ 931 w 1126"/>
                  <a:gd name="T7" fmla="*/ 173 h 657"/>
                  <a:gd name="T8" fmla="*/ 679 w 1126"/>
                  <a:gd name="T9" fmla="*/ 0 h 657"/>
                  <a:gd name="T10" fmla="*/ 491 w 1126"/>
                  <a:gd name="T11" fmla="*/ 79 h 657"/>
                  <a:gd name="T12" fmla="*/ 373 w 1126"/>
                  <a:gd name="T13" fmla="*/ 42 h 657"/>
                  <a:gd name="T14" fmla="*/ 163 w 1126"/>
                  <a:gd name="T15" fmla="*/ 224 h 657"/>
                  <a:gd name="T16" fmla="*/ 129 w 1126"/>
                  <a:gd name="T17" fmla="*/ 219 h 657"/>
                  <a:gd name="T18" fmla="*/ 0 w 1126"/>
                  <a:gd name="T19" fmla="*/ 348 h 657"/>
                  <a:gd name="T20" fmla="*/ 129 w 1126"/>
                  <a:gd name="T21" fmla="*/ 480 h 657"/>
                  <a:gd name="T22" fmla="*/ 180 w 1126"/>
                  <a:gd name="T23" fmla="*/ 468 h 657"/>
                  <a:gd name="T24" fmla="*/ 325 w 1126"/>
                  <a:gd name="T25" fmla="*/ 593 h 657"/>
                  <a:gd name="T26" fmla="*/ 410 w 1126"/>
                  <a:gd name="T27" fmla="*/ 563 h 657"/>
                  <a:gd name="T28" fmla="*/ 555 w 1126"/>
                  <a:gd name="T29" fmla="*/ 657 h 657"/>
                  <a:gd name="T30" fmla="*/ 684 w 1126"/>
                  <a:gd name="T31" fmla="*/ 588 h 657"/>
                  <a:gd name="T32" fmla="*/ 765 w 1126"/>
                  <a:gd name="T33" fmla="*/ 616 h 657"/>
                  <a:gd name="T34" fmla="*/ 898 w 1126"/>
                  <a:gd name="T35" fmla="*/ 501 h 657"/>
                  <a:gd name="T36" fmla="*/ 956 w 1126"/>
                  <a:gd name="T37" fmla="*/ 51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6" h="657">
                    <a:moveTo>
                      <a:pt x="956" y="512"/>
                    </a:moveTo>
                    <a:cubicBezTo>
                      <a:pt x="1050" y="512"/>
                      <a:pt x="1126" y="436"/>
                      <a:pt x="1126" y="342"/>
                    </a:cubicBezTo>
                    <a:cubicBezTo>
                      <a:pt x="1126" y="247"/>
                      <a:pt x="1050" y="171"/>
                      <a:pt x="956" y="171"/>
                    </a:cubicBezTo>
                    <a:cubicBezTo>
                      <a:pt x="947" y="171"/>
                      <a:pt x="937" y="171"/>
                      <a:pt x="931" y="173"/>
                    </a:cubicBezTo>
                    <a:cubicBezTo>
                      <a:pt x="891" y="72"/>
                      <a:pt x="795" y="0"/>
                      <a:pt x="679" y="0"/>
                    </a:cubicBezTo>
                    <a:cubicBezTo>
                      <a:pt x="606" y="0"/>
                      <a:pt x="539" y="30"/>
                      <a:pt x="491" y="79"/>
                    </a:cubicBezTo>
                    <a:cubicBezTo>
                      <a:pt x="458" y="56"/>
                      <a:pt x="417" y="42"/>
                      <a:pt x="373" y="42"/>
                    </a:cubicBezTo>
                    <a:cubicBezTo>
                      <a:pt x="265" y="42"/>
                      <a:pt x="177" y="120"/>
                      <a:pt x="163" y="224"/>
                    </a:cubicBezTo>
                    <a:cubicBezTo>
                      <a:pt x="152" y="222"/>
                      <a:pt x="140" y="219"/>
                      <a:pt x="129" y="219"/>
                    </a:cubicBezTo>
                    <a:cubicBezTo>
                      <a:pt x="58" y="219"/>
                      <a:pt x="0" y="277"/>
                      <a:pt x="0" y="348"/>
                    </a:cubicBezTo>
                    <a:cubicBezTo>
                      <a:pt x="0" y="420"/>
                      <a:pt x="58" y="480"/>
                      <a:pt x="129" y="480"/>
                    </a:cubicBezTo>
                    <a:cubicBezTo>
                      <a:pt x="147" y="480"/>
                      <a:pt x="163" y="475"/>
                      <a:pt x="180" y="468"/>
                    </a:cubicBezTo>
                    <a:cubicBezTo>
                      <a:pt x="191" y="540"/>
                      <a:pt x="251" y="593"/>
                      <a:pt x="325" y="593"/>
                    </a:cubicBezTo>
                    <a:cubicBezTo>
                      <a:pt x="357" y="593"/>
                      <a:pt x="387" y="581"/>
                      <a:pt x="410" y="563"/>
                    </a:cubicBezTo>
                    <a:cubicBezTo>
                      <a:pt x="435" y="618"/>
                      <a:pt x="491" y="657"/>
                      <a:pt x="555" y="657"/>
                    </a:cubicBezTo>
                    <a:cubicBezTo>
                      <a:pt x="608" y="657"/>
                      <a:pt x="656" y="630"/>
                      <a:pt x="684" y="588"/>
                    </a:cubicBezTo>
                    <a:cubicBezTo>
                      <a:pt x="707" y="607"/>
                      <a:pt x="735" y="616"/>
                      <a:pt x="765" y="616"/>
                    </a:cubicBezTo>
                    <a:cubicBezTo>
                      <a:pt x="831" y="616"/>
                      <a:pt x="889" y="567"/>
                      <a:pt x="898" y="501"/>
                    </a:cubicBezTo>
                    <a:cubicBezTo>
                      <a:pt x="914" y="507"/>
                      <a:pt x="935" y="512"/>
                      <a:pt x="956" y="5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 name="Freeform 18"/>
              <p:cNvSpPr>
                <a:spLocks noEditPoints="1"/>
              </p:cNvSpPr>
              <p:nvPr/>
            </p:nvSpPr>
            <p:spPr bwMode="auto">
              <a:xfrm>
                <a:off x="2096" y="-460"/>
                <a:ext cx="1090" cy="759"/>
              </a:xfrm>
              <a:custGeom>
                <a:avLst/>
                <a:gdLst>
                  <a:gd name="T0" fmla="*/ 401 w 461"/>
                  <a:gd name="T1" fmla="*/ 0 h 321"/>
                  <a:gd name="T2" fmla="*/ 60 w 461"/>
                  <a:gd name="T3" fmla="*/ 0 h 321"/>
                  <a:gd name="T4" fmla="*/ 0 w 461"/>
                  <a:gd name="T5" fmla="*/ 62 h 321"/>
                  <a:gd name="T6" fmla="*/ 0 w 461"/>
                  <a:gd name="T7" fmla="*/ 261 h 321"/>
                  <a:gd name="T8" fmla="*/ 60 w 461"/>
                  <a:gd name="T9" fmla="*/ 321 h 321"/>
                  <a:gd name="T10" fmla="*/ 401 w 461"/>
                  <a:gd name="T11" fmla="*/ 321 h 321"/>
                  <a:gd name="T12" fmla="*/ 461 w 461"/>
                  <a:gd name="T13" fmla="*/ 261 h 321"/>
                  <a:gd name="T14" fmla="*/ 461 w 461"/>
                  <a:gd name="T15" fmla="*/ 62 h 321"/>
                  <a:gd name="T16" fmla="*/ 401 w 461"/>
                  <a:gd name="T17" fmla="*/ 0 h 321"/>
                  <a:gd name="T18" fmla="*/ 427 w 461"/>
                  <a:gd name="T19" fmla="*/ 261 h 321"/>
                  <a:gd name="T20" fmla="*/ 401 w 461"/>
                  <a:gd name="T21" fmla="*/ 286 h 321"/>
                  <a:gd name="T22" fmla="*/ 60 w 461"/>
                  <a:gd name="T23" fmla="*/ 286 h 321"/>
                  <a:gd name="T24" fmla="*/ 35 w 461"/>
                  <a:gd name="T25" fmla="*/ 261 h 321"/>
                  <a:gd name="T26" fmla="*/ 35 w 461"/>
                  <a:gd name="T27" fmla="*/ 62 h 321"/>
                  <a:gd name="T28" fmla="*/ 60 w 461"/>
                  <a:gd name="T29" fmla="*/ 37 h 321"/>
                  <a:gd name="T30" fmla="*/ 401 w 461"/>
                  <a:gd name="T31" fmla="*/ 37 h 321"/>
                  <a:gd name="T32" fmla="*/ 427 w 461"/>
                  <a:gd name="T33" fmla="*/ 62 h 321"/>
                  <a:gd name="T34" fmla="*/ 427 w 461"/>
                  <a:gd name="T35" fmla="*/ 261 h 321"/>
                  <a:gd name="T36" fmla="*/ 427 w 461"/>
                  <a:gd name="T37" fmla="*/ 26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321">
                    <a:moveTo>
                      <a:pt x="401" y="0"/>
                    </a:moveTo>
                    <a:cubicBezTo>
                      <a:pt x="60" y="0"/>
                      <a:pt x="60" y="0"/>
                      <a:pt x="60" y="0"/>
                    </a:cubicBezTo>
                    <a:cubicBezTo>
                      <a:pt x="28" y="0"/>
                      <a:pt x="0" y="27"/>
                      <a:pt x="0" y="62"/>
                    </a:cubicBezTo>
                    <a:cubicBezTo>
                      <a:pt x="0" y="261"/>
                      <a:pt x="0" y="261"/>
                      <a:pt x="0" y="261"/>
                    </a:cubicBezTo>
                    <a:cubicBezTo>
                      <a:pt x="0" y="293"/>
                      <a:pt x="28" y="321"/>
                      <a:pt x="60" y="321"/>
                    </a:cubicBezTo>
                    <a:cubicBezTo>
                      <a:pt x="401" y="321"/>
                      <a:pt x="401" y="321"/>
                      <a:pt x="401" y="321"/>
                    </a:cubicBezTo>
                    <a:cubicBezTo>
                      <a:pt x="434" y="321"/>
                      <a:pt x="461" y="293"/>
                      <a:pt x="461" y="261"/>
                    </a:cubicBezTo>
                    <a:cubicBezTo>
                      <a:pt x="461" y="62"/>
                      <a:pt x="461" y="62"/>
                      <a:pt x="461" y="62"/>
                    </a:cubicBezTo>
                    <a:cubicBezTo>
                      <a:pt x="461" y="27"/>
                      <a:pt x="434" y="0"/>
                      <a:pt x="401" y="0"/>
                    </a:cubicBezTo>
                    <a:moveTo>
                      <a:pt x="427" y="261"/>
                    </a:moveTo>
                    <a:cubicBezTo>
                      <a:pt x="427" y="274"/>
                      <a:pt x="415" y="286"/>
                      <a:pt x="401" y="286"/>
                    </a:cubicBezTo>
                    <a:cubicBezTo>
                      <a:pt x="60" y="286"/>
                      <a:pt x="60" y="286"/>
                      <a:pt x="60" y="286"/>
                    </a:cubicBezTo>
                    <a:cubicBezTo>
                      <a:pt x="46" y="286"/>
                      <a:pt x="35" y="274"/>
                      <a:pt x="35" y="261"/>
                    </a:cubicBezTo>
                    <a:cubicBezTo>
                      <a:pt x="35" y="62"/>
                      <a:pt x="35" y="62"/>
                      <a:pt x="35" y="62"/>
                    </a:cubicBezTo>
                    <a:cubicBezTo>
                      <a:pt x="35" y="48"/>
                      <a:pt x="46" y="37"/>
                      <a:pt x="60" y="37"/>
                    </a:cubicBezTo>
                    <a:cubicBezTo>
                      <a:pt x="401" y="37"/>
                      <a:pt x="401" y="37"/>
                      <a:pt x="401" y="37"/>
                    </a:cubicBezTo>
                    <a:cubicBezTo>
                      <a:pt x="415" y="37"/>
                      <a:pt x="427" y="48"/>
                      <a:pt x="427" y="62"/>
                    </a:cubicBezTo>
                    <a:cubicBezTo>
                      <a:pt x="427" y="261"/>
                      <a:pt x="427" y="261"/>
                      <a:pt x="427" y="261"/>
                    </a:cubicBezTo>
                    <a:cubicBezTo>
                      <a:pt x="427" y="261"/>
                      <a:pt x="427" y="261"/>
                      <a:pt x="427"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 name="Freeform 19"/>
              <p:cNvSpPr>
                <a:spLocks/>
              </p:cNvSpPr>
              <p:nvPr/>
            </p:nvSpPr>
            <p:spPr bwMode="auto">
              <a:xfrm>
                <a:off x="1888" y="346"/>
                <a:ext cx="1506" cy="348"/>
              </a:xfrm>
              <a:custGeom>
                <a:avLst/>
                <a:gdLst>
                  <a:gd name="T0" fmla="*/ 17 w 637"/>
                  <a:gd name="T1" fmla="*/ 147 h 147"/>
                  <a:gd name="T2" fmla="*/ 621 w 637"/>
                  <a:gd name="T3" fmla="*/ 147 h 147"/>
                  <a:gd name="T4" fmla="*/ 637 w 637"/>
                  <a:gd name="T5" fmla="*/ 131 h 147"/>
                  <a:gd name="T6" fmla="*/ 637 w 637"/>
                  <a:gd name="T7" fmla="*/ 124 h 147"/>
                  <a:gd name="T8" fmla="*/ 628 w 637"/>
                  <a:gd name="T9" fmla="*/ 96 h 147"/>
                  <a:gd name="T10" fmla="*/ 554 w 637"/>
                  <a:gd name="T11" fmla="*/ 11 h 147"/>
                  <a:gd name="T12" fmla="*/ 529 w 637"/>
                  <a:gd name="T13" fmla="*/ 0 h 147"/>
                  <a:gd name="T14" fmla="*/ 109 w 637"/>
                  <a:gd name="T15" fmla="*/ 0 h 147"/>
                  <a:gd name="T16" fmla="*/ 83 w 637"/>
                  <a:gd name="T17" fmla="*/ 11 h 147"/>
                  <a:gd name="T18" fmla="*/ 10 w 637"/>
                  <a:gd name="T19" fmla="*/ 96 h 147"/>
                  <a:gd name="T20" fmla="*/ 0 w 637"/>
                  <a:gd name="T21" fmla="*/ 124 h 147"/>
                  <a:gd name="T22" fmla="*/ 0 w 637"/>
                  <a:gd name="T23" fmla="*/ 131 h 147"/>
                  <a:gd name="T24" fmla="*/ 17 w 637"/>
                  <a:gd name="T2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7" h="147">
                    <a:moveTo>
                      <a:pt x="17" y="147"/>
                    </a:moveTo>
                    <a:cubicBezTo>
                      <a:pt x="621" y="147"/>
                      <a:pt x="621" y="147"/>
                      <a:pt x="621" y="147"/>
                    </a:cubicBezTo>
                    <a:cubicBezTo>
                      <a:pt x="630" y="147"/>
                      <a:pt x="637" y="140"/>
                      <a:pt x="637" y="131"/>
                    </a:cubicBezTo>
                    <a:cubicBezTo>
                      <a:pt x="637" y="124"/>
                      <a:pt x="637" y="124"/>
                      <a:pt x="637" y="124"/>
                    </a:cubicBezTo>
                    <a:cubicBezTo>
                      <a:pt x="637" y="115"/>
                      <a:pt x="632" y="103"/>
                      <a:pt x="628" y="96"/>
                    </a:cubicBezTo>
                    <a:cubicBezTo>
                      <a:pt x="554" y="11"/>
                      <a:pt x="554" y="11"/>
                      <a:pt x="554" y="11"/>
                    </a:cubicBezTo>
                    <a:cubicBezTo>
                      <a:pt x="549" y="4"/>
                      <a:pt x="538" y="0"/>
                      <a:pt x="529" y="0"/>
                    </a:cubicBezTo>
                    <a:cubicBezTo>
                      <a:pt x="109" y="0"/>
                      <a:pt x="109" y="0"/>
                      <a:pt x="109" y="0"/>
                    </a:cubicBezTo>
                    <a:cubicBezTo>
                      <a:pt x="100" y="0"/>
                      <a:pt x="88" y="4"/>
                      <a:pt x="83" y="11"/>
                    </a:cubicBezTo>
                    <a:cubicBezTo>
                      <a:pt x="10" y="96"/>
                      <a:pt x="10" y="96"/>
                      <a:pt x="10" y="96"/>
                    </a:cubicBezTo>
                    <a:cubicBezTo>
                      <a:pt x="5" y="103"/>
                      <a:pt x="0" y="115"/>
                      <a:pt x="0" y="124"/>
                    </a:cubicBezTo>
                    <a:cubicBezTo>
                      <a:pt x="0" y="131"/>
                      <a:pt x="0" y="131"/>
                      <a:pt x="0" y="131"/>
                    </a:cubicBezTo>
                    <a:cubicBezTo>
                      <a:pt x="0" y="140"/>
                      <a:pt x="7" y="147"/>
                      <a:pt x="17" y="1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 name="Freeform 20"/>
              <p:cNvSpPr>
                <a:spLocks noEditPoints="1"/>
              </p:cNvSpPr>
              <p:nvPr/>
            </p:nvSpPr>
            <p:spPr bwMode="auto">
              <a:xfrm>
                <a:off x="4146" y="-401"/>
                <a:ext cx="1133" cy="882"/>
              </a:xfrm>
              <a:custGeom>
                <a:avLst/>
                <a:gdLst>
                  <a:gd name="T0" fmla="*/ 408 w 479"/>
                  <a:gd name="T1" fmla="*/ 0 h 373"/>
                  <a:gd name="T2" fmla="*/ 71 w 479"/>
                  <a:gd name="T3" fmla="*/ 0 h 373"/>
                  <a:gd name="T4" fmla="*/ 0 w 479"/>
                  <a:gd name="T5" fmla="*/ 71 h 373"/>
                  <a:gd name="T6" fmla="*/ 0 w 479"/>
                  <a:gd name="T7" fmla="*/ 302 h 373"/>
                  <a:gd name="T8" fmla="*/ 71 w 479"/>
                  <a:gd name="T9" fmla="*/ 373 h 373"/>
                  <a:gd name="T10" fmla="*/ 408 w 479"/>
                  <a:gd name="T11" fmla="*/ 373 h 373"/>
                  <a:gd name="T12" fmla="*/ 479 w 479"/>
                  <a:gd name="T13" fmla="*/ 302 h 373"/>
                  <a:gd name="T14" fmla="*/ 479 w 479"/>
                  <a:gd name="T15" fmla="*/ 71 h 373"/>
                  <a:gd name="T16" fmla="*/ 408 w 479"/>
                  <a:gd name="T17" fmla="*/ 0 h 373"/>
                  <a:gd name="T18" fmla="*/ 438 w 479"/>
                  <a:gd name="T19" fmla="*/ 302 h 373"/>
                  <a:gd name="T20" fmla="*/ 408 w 479"/>
                  <a:gd name="T21" fmla="*/ 332 h 373"/>
                  <a:gd name="T22" fmla="*/ 71 w 479"/>
                  <a:gd name="T23" fmla="*/ 332 h 373"/>
                  <a:gd name="T24" fmla="*/ 41 w 479"/>
                  <a:gd name="T25" fmla="*/ 302 h 373"/>
                  <a:gd name="T26" fmla="*/ 41 w 479"/>
                  <a:gd name="T27" fmla="*/ 71 h 373"/>
                  <a:gd name="T28" fmla="*/ 71 w 479"/>
                  <a:gd name="T29" fmla="*/ 41 h 373"/>
                  <a:gd name="T30" fmla="*/ 408 w 479"/>
                  <a:gd name="T31" fmla="*/ 41 h 373"/>
                  <a:gd name="T32" fmla="*/ 438 w 479"/>
                  <a:gd name="T33" fmla="*/ 71 h 373"/>
                  <a:gd name="T34" fmla="*/ 438 w 479"/>
                  <a:gd name="T35" fmla="*/ 302 h 373"/>
                  <a:gd name="T36" fmla="*/ 438 w 479"/>
                  <a:gd name="T37" fmla="*/ 30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9" h="373">
                    <a:moveTo>
                      <a:pt x="408" y="0"/>
                    </a:moveTo>
                    <a:cubicBezTo>
                      <a:pt x="71" y="0"/>
                      <a:pt x="71" y="0"/>
                      <a:pt x="71" y="0"/>
                    </a:cubicBezTo>
                    <a:cubicBezTo>
                      <a:pt x="32" y="0"/>
                      <a:pt x="0" y="32"/>
                      <a:pt x="0" y="71"/>
                    </a:cubicBezTo>
                    <a:cubicBezTo>
                      <a:pt x="0" y="302"/>
                      <a:pt x="0" y="302"/>
                      <a:pt x="0" y="302"/>
                    </a:cubicBezTo>
                    <a:cubicBezTo>
                      <a:pt x="0" y="341"/>
                      <a:pt x="32" y="373"/>
                      <a:pt x="71" y="373"/>
                    </a:cubicBezTo>
                    <a:cubicBezTo>
                      <a:pt x="408" y="373"/>
                      <a:pt x="408" y="373"/>
                      <a:pt x="408" y="373"/>
                    </a:cubicBezTo>
                    <a:cubicBezTo>
                      <a:pt x="447" y="373"/>
                      <a:pt x="479" y="341"/>
                      <a:pt x="479" y="302"/>
                    </a:cubicBezTo>
                    <a:cubicBezTo>
                      <a:pt x="479" y="71"/>
                      <a:pt x="479" y="71"/>
                      <a:pt x="479" y="71"/>
                    </a:cubicBezTo>
                    <a:cubicBezTo>
                      <a:pt x="479" y="32"/>
                      <a:pt x="447" y="0"/>
                      <a:pt x="408" y="0"/>
                    </a:cubicBezTo>
                    <a:moveTo>
                      <a:pt x="438" y="302"/>
                    </a:moveTo>
                    <a:cubicBezTo>
                      <a:pt x="438" y="318"/>
                      <a:pt x="424" y="332"/>
                      <a:pt x="408" y="332"/>
                    </a:cubicBezTo>
                    <a:cubicBezTo>
                      <a:pt x="71" y="332"/>
                      <a:pt x="71" y="332"/>
                      <a:pt x="71" y="332"/>
                    </a:cubicBezTo>
                    <a:cubicBezTo>
                      <a:pt x="55" y="332"/>
                      <a:pt x="41" y="318"/>
                      <a:pt x="41" y="302"/>
                    </a:cubicBezTo>
                    <a:cubicBezTo>
                      <a:pt x="41" y="71"/>
                      <a:pt x="41" y="71"/>
                      <a:pt x="41" y="71"/>
                    </a:cubicBezTo>
                    <a:cubicBezTo>
                      <a:pt x="41" y="55"/>
                      <a:pt x="55" y="41"/>
                      <a:pt x="71" y="41"/>
                    </a:cubicBezTo>
                    <a:cubicBezTo>
                      <a:pt x="408" y="41"/>
                      <a:pt x="408" y="41"/>
                      <a:pt x="408" y="41"/>
                    </a:cubicBezTo>
                    <a:cubicBezTo>
                      <a:pt x="424" y="41"/>
                      <a:pt x="438" y="55"/>
                      <a:pt x="438" y="71"/>
                    </a:cubicBezTo>
                    <a:cubicBezTo>
                      <a:pt x="438" y="302"/>
                      <a:pt x="438" y="302"/>
                      <a:pt x="438" y="302"/>
                    </a:cubicBezTo>
                    <a:cubicBezTo>
                      <a:pt x="438" y="302"/>
                      <a:pt x="438" y="302"/>
                      <a:pt x="43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6" name="Freeform 21"/>
              <p:cNvSpPr>
                <a:spLocks/>
              </p:cNvSpPr>
              <p:nvPr/>
            </p:nvSpPr>
            <p:spPr bwMode="auto">
              <a:xfrm>
                <a:off x="4409" y="543"/>
                <a:ext cx="608" cy="151"/>
              </a:xfrm>
              <a:custGeom>
                <a:avLst/>
                <a:gdLst>
                  <a:gd name="T0" fmla="*/ 257 w 257"/>
                  <a:gd name="T1" fmla="*/ 57 h 64"/>
                  <a:gd name="T2" fmla="*/ 257 w 257"/>
                  <a:gd name="T3" fmla="*/ 52 h 64"/>
                  <a:gd name="T4" fmla="*/ 252 w 257"/>
                  <a:gd name="T5" fmla="*/ 41 h 64"/>
                  <a:gd name="T6" fmla="*/ 220 w 257"/>
                  <a:gd name="T7" fmla="*/ 4 h 64"/>
                  <a:gd name="T8" fmla="*/ 209 w 257"/>
                  <a:gd name="T9" fmla="*/ 0 h 64"/>
                  <a:gd name="T10" fmla="*/ 48 w 257"/>
                  <a:gd name="T11" fmla="*/ 0 h 64"/>
                  <a:gd name="T12" fmla="*/ 37 w 257"/>
                  <a:gd name="T13" fmla="*/ 4 h 64"/>
                  <a:gd name="T14" fmla="*/ 5 w 257"/>
                  <a:gd name="T15" fmla="*/ 41 h 64"/>
                  <a:gd name="T16" fmla="*/ 0 w 257"/>
                  <a:gd name="T17" fmla="*/ 52 h 64"/>
                  <a:gd name="T18" fmla="*/ 0 w 257"/>
                  <a:gd name="T19" fmla="*/ 57 h 64"/>
                  <a:gd name="T20" fmla="*/ 7 w 257"/>
                  <a:gd name="T21" fmla="*/ 64 h 64"/>
                  <a:gd name="T22" fmla="*/ 250 w 257"/>
                  <a:gd name="T23" fmla="*/ 64 h 64"/>
                  <a:gd name="T24" fmla="*/ 257 w 257"/>
                  <a:gd name="T2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64">
                    <a:moveTo>
                      <a:pt x="257" y="57"/>
                    </a:moveTo>
                    <a:cubicBezTo>
                      <a:pt x="257" y="52"/>
                      <a:pt x="257" y="52"/>
                      <a:pt x="257" y="52"/>
                    </a:cubicBezTo>
                    <a:cubicBezTo>
                      <a:pt x="257" y="50"/>
                      <a:pt x="254" y="45"/>
                      <a:pt x="252" y="41"/>
                    </a:cubicBezTo>
                    <a:cubicBezTo>
                      <a:pt x="220" y="4"/>
                      <a:pt x="220" y="4"/>
                      <a:pt x="220" y="4"/>
                    </a:cubicBezTo>
                    <a:cubicBezTo>
                      <a:pt x="218" y="2"/>
                      <a:pt x="213" y="0"/>
                      <a:pt x="209" y="0"/>
                    </a:cubicBezTo>
                    <a:cubicBezTo>
                      <a:pt x="48" y="0"/>
                      <a:pt x="48" y="0"/>
                      <a:pt x="48" y="0"/>
                    </a:cubicBezTo>
                    <a:cubicBezTo>
                      <a:pt x="44" y="0"/>
                      <a:pt x="39" y="2"/>
                      <a:pt x="37" y="4"/>
                    </a:cubicBezTo>
                    <a:cubicBezTo>
                      <a:pt x="5" y="41"/>
                      <a:pt x="5" y="41"/>
                      <a:pt x="5" y="41"/>
                    </a:cubicBezTo>
                    <a:cubicBezTo>
                      <a:pt x="2" y="45"/>
                      <a:pt x="0" y="50"/>
                      <a:pt x="0" y="52"/>
                    </a:cubicBezTo>
                    <a:cubicBezTo>
                      <a:pt x="0" y="57"/>
                      <a:pt x="0" y="57"/>
                      <a:pt x="0" y="57"/>
                    </a:cubicBezTo>
                    <a:cubicBezTo>
                      <a:pt x="0" y="59"/>
                      <a:pt x="2" y="64"/>
                      <a:pt x="7" y="64"/>
                    </a:cubicBezTo>
                    <a:cubicBezTo>
                      <a:pt x="250" y="64"/>
                      <a:pt x="250" y="64"/>
                      <a:pt x="250" y="64"/>
                    </a:cubicBezTo>
                    <a:cubicBezTo>
                      <a:pt x="254" y="64"/>
                      <a:pt x="257" y="59"/>
                      <a:pt x="257" y="5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7" name="Freeform 22"/>
              <p:cNvSpPr>
                <a:spLocks noEditPoints="1"/>
              </p:cNvSpPr>
              <p:nvPr/>
            </p:nvSpPr>
            <p:spPr bwMode="auto">
              <a:xfrm>
                <a:off x="5388" y="-401"/>
                <a:ext cx="558" cy="1095"/>
              </a:xfrm>
              <a:custGeom>
                <a:avLst/>
                <a:gdLst>
                  <a:gd name="T0" fmla="*/ 204 w 236"/>
                  <a:gd name="T1" fmla="*/ 0 h 463"/>
                  <a:gd name="T2" fmla="*/ 30 w 236"/>
                  <a:gd name="T3" fmla="*/ 0 h 463"/>
                  <a:gd name="T4" fmla="*/ 0 w 236"/>
                  <a:gd name="T5" fmla="*/ 30 h 463"/>
                  <a:gd name="T6" fmla="*/ 0 w 236"/>
                  <a:gd name="T7" fmla="*/ 430 h 463"/>
                  <a:gd name="T8" fmla="*/ 30 w 236"/>
                  <a:gd name="T9" fmla="*/ 463 h 463"/>
                  <a:gd name="T10" fmla="*/ 204 w 236"/>
                  <a:gd name="T11" fmla="*/ 463 h 463"/>
                  <a:gd name="T12" fmla="*/ 236 w 236"/>
                  <a:gd name="T13" fmla="*/ 430 h 463"/>
                  <a:gd name="T14" fmla="*/ 236 w 236"/>
                  <a:gd name="T15" fmla="*/ 30 h 463"/>
                  <a:gd name="T16" fmla="*/ 204 w 236"/>
                  <a:gd name="T17" fmla="*/ 0 h 463"/>
                  <a:gd name="T18" fmla="*/ 119 w 236"/>
                  <a:gd name="T19" fmla="*/ 430 h 463"/>
                  <a:gd name="T20" fmla="*/ 92 w 236"/>
                  <a:gd name="T21" fmla="*/ 403 h 463"/>
                  <a:gd name="T22" fmla="*/ 119 w 236"/>
                  <a:gd name="T23" fmla="*/ 375 h 463"/>
                  <a:gd name="T24" fmla="*/ 144 w 236"/>
                  <a:gd name="T25" fmla="*/ 403 h 463"/>
                  <a:gd name="T26" fmla="*/ 119 w 236"/>
                  <a:gd name="T27" fmla="*/ 43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463">
                    <a:moveTo>
                      <a:pt x="204" y="0"/>
                    </a:moveTo>
                    <a:cubicBezTo>
                      <a:pt x="30" y="0"/>
                      <a:pt x="30" y="0"/>
                      <a:pt x="30" y="0"/>
                    </a:cubicBezTo>
                    <a:cubicBezTo>
                      <a:pt x="13" y="0"/>
                      <a:pt x="0" y="14"/>
                      <a:pt x="0" y="30"/>
                    </a:cubicBezTo>
                    <a:cubicBezTo>
                      <a:pt x="0" y="430"/>
                      <a:pt x="0" y="430"/>
                      <a:pt x="0" y="430"/>
                    </a:cubicBezTo>
                    <a:cubicBezTo>
                      <a:pt x="0" y="449"/>
                      <a:pt x="13" y="463"/>
                      <a:pt x="30" y="463"/>
                    </a:cubicBezTo>
                    <a:cubicBezTo>
                      <a:pt x="204" y="463"/>
                      <a:pt x="204" y="463"/>
                      <a:pt x="204" y="463"/>
                    </a:cubicBezTo>
                    <a:cubicBezTo>
                      <a:pt x="222" y="463"/>
                      <a:pt x="236" y="449"/>
                      <a:pt x="236" y="430"/>
                    </a:cubicBezTo>
                    <a:cubicBezTo>
                      <a:pt x="236" y="30"/>
                      <a:pt x="236" y="30"/>
                      <a:pt x="236" y="30"/>
                    </a:cubicBezTo>
                    <a:cubicBezTo>
                      <a:pt x="236" y="14"/>
                      <a:pt x="222" y="0"/>
                      <a:pt x="204" y="0"/>
                    </a:cubicBezTo>
                    <a:moveTo>
                      <a:pt x="119" y="430"/>
                    </a:moveTo>
                    <a:cubicBezTo>
                      <a:pt x="103" y="430"/>
                      <a:pt x="92" y="417"/>
                      <a:pt x="92" y="403"/>
                    </a:cubicBezTo>
                    <a:cubicBezTo>
                      <a:pt x="92" y="387"/>
                      <a:pt x="103" y="375"/>
                      <a:pt x="119" y="375"/>
                    </a:cubicBezTo>
                    <a:cubicBezTo>
                      <a:pt x="133" y="375"/>
                      <a:pt x="144" y="387"/>
                      <a:pt x="144" y="403"/>
                    </a:cubicBezTo>
                    <a:cubicBezTo>
                      <a:pt x="144" y="417"/>
                      <a:pt x="133" y="430"/>
                      <a:pt x="119" y="4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8" name="Freeform 23"/>
              <p:cNvSpPr>
                <a:spLocks noEditPoints="1"/>
              </p:cNvSpPr>
              <p:nvPr/>
            </p:nvSpPr>
            <p:spPr bwMode="auto">
              <a:xfrm>
                <a:off x="850" y="1621"/>
                <a:ext cx="764" cy="1169"/>
              </a:xfrm>
              <a:custGeom>
                <a:avLst/>
                <a:gdLst>
                  <a:gd name="T0" fmla="*/ 251 w 323"/>
                  <a:gd name="T1" fmla="*/ 0 h 494"/>
                  <a:gd name="T2" fmla="*/ 72 w 323"/>
                  <a:gd name="T3" fmla="*/ 0 h 494"/>
                  <a:gd name="T4" fmla="*/ 0 w 323"/>
                  <a:gd name="T5" fmla="*/ 69 h 494"/>
                  <a:gd name="T6" fmla="*/ 0 w 323"/>
                  <a:gd name="T7" fmla="*/ 423 h 494"/>
                  <a:gd name="T8" fmla="*/ 72 w 323"/>
                  <a:gd name="T9" fmla="*/ 494 h 494"/>
                  <a:gd name="T10" fmla="*/ 251 w 323"/>
                  <a:gd name="T11" fmla="*/ 494 h 494"/>
                  <a:gd name="T12" fmla="*/ 323 w 323"/>
                  <a:gd name="T13" fmla="*/ 423 h 494"/>
                  <a:gd name="T14" fmla="*/ 323 w 323"/>
                  <a:gd name="T15" fmla="*/ 69 h 494"/>
                  <a:gd name="T16" fmla="*/ 251 w 323"/>
                  <a:gd name="T17" fmla="*/ 0 h 494"/>
                  <a:gd name="T18" fmla="*/ 281 w 323"/>
                  <a:gd name="T19" fmla="*/ 407 h 494"/>
                  <a:gd name="T20" fmla="*/ 251 w 323"/>
                  <a:gd name="T21" fmla="*/ 448 h 494"/>
                  <a:gd name="T22" fmla="*/ 72 w 323"/>
                  <a:gd name="T23" fmla="*/ 448 h 494"/>
                  <a:gd name="T24" fmla="*/ 42 w 323"/>
                  <a:gd name="T25" fmla="*/ 407 h 494"/>
                  <a:gd name="T26" fmla="*/ 42 w 323"/>
                  <a:gd name="T27" fmla="*/ 80 h 494"/>
                  <a:gd name="T28" fmla="*/ 72 w 323"/>
                  <a:gd name="T29" fmla="*/ 41 h 494"/>
                  <a:gd name="T30" fmla="*/ 251 w 323"/>
                  <a:gd name="T31" fmla="*/ 41 h 494"/>
                  <a:gd name="T32" fmla="*/ 281 w 323"/>
                  <a:gd name="T33" fmla="*/ 80 h 494"/>
                  <a:gd name="T34" fmla="*/ 281 w 323"/>
                  <a:gd name="T35" fmla="*/ 407 h 494"/>
                  <a:gd name="T36" fmla="*/ 281 w 323"/>
                  <a:gd name="T37" fmla="*/ 40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3" h="494">
                    <a:moveTo>
                      <a:pt x="251" y="0"/>
                    </a:moveTo>
                    <a:cubicBezTo>
                      <a:pt x="72" y="0"/>
                      <a:pt x="72" y="0"/>
                      <a:pt x="72" y="0"/>
                    </a:cubicBezTo>
                    <a:cubicBezTo>
                      <a:pt x="33" y="0"/>
                      <a:pt x="0" y="29"/>
                      <a:pt x="0" y="69"/>
                    </a:cubicBezTo>
                    <a:cubicBezTo>
                      <a:pt x="0" y="423"/>
                      <a:pt x="0" y="423"/>
                      <a:pt x="0" y="423"/>
                    </a:cubicBezTo>
                    <a:cubicBezTo>
                      <a:pt x="0" y="462"/>
                      <a:pt x="33" y="494"/>
                      <a:pt x="72" y="494"/>
                    </a:cubicBezTo>
                    <a:cubicBezTo>
                      <a:pt x="251" y="494"/>
                      <a:pt x="251" y="494"/>
                      <a:pt x="251" y="494"/>
                    </a:cubicBezTo>
                    <a:cubicBezTo>
                      <a:pt x="291" y="494"/>
                      <a:pt x="323" y="462"/>
                      <a:pt x="323" y="423"/>
                    </a:cubicBezTo>
                    <a:cubicBezTo>
                      <a:pt x="323" y="69"/>
                      <a:pt x="323" y="69"/>
                      <a:pt x="323" y="69"/>
                    </a:cubicBezTo>
                    <a:cubicBezTo>
                      <a:pt x="323" y="29"/>
                      <a:pt x="291" y="0"/>
                      <a:pt x="251" y="0"/>
                    </a:cubicBezTo>
                    <a:moveTo>
                      <a:pt x="281" y="407"/>
                    </a:moveTo>
                    <a:cubicBezTo>
                      <a:pt x="281" y="430"/>
                      <a:pt x="268" y="448"/>
                      <a:pt x="251" y="448"/>
                    </a:cubicBezTo>
                    <a:cubicBezTo>
                      <a:pt x="72" y="448"/>
                      <a:pt x="72" y="448"/>
                      <a:pt x="72" y="448"/>
                    </a:cubicBezTo>
                    <a:cubicBezTo>
                      <a:pt x="56" y="448"/>
                      <a:pt x="42" y="430"/>
                      <a:pt x="42" y="407"/>
                    </a:cubicBezTo>
                    <a:cubicBezTo>
                      <a:pt x="42" y="80"/>
                      <a:pt x="42" y="80"/>
                      <a:pt x="42" y="80"/>
                    </a:cubicBezTo>
                    <a:cubicBezTo>
                      <a:pt x="42" y="59"/>
                      <a:pt x="56" y="41"/>
                      <a:pt x="72" y="41"/>
                    </a:cubicBezTo>
                    <a:cubicBezTo>
                      <a:pt x="251" y="41"/>
                      <a:pt x="251" y="41"/>
                      <a:pt x="251" y="41"/>
                    </a:cubicBezTo>
                    <a:cubicBezTo>
                      <a:pt x="268" y="41"/>
                      <a:pt x="281" y="59"/>
                      <a:pt x="281" y="80"/>
                    </a:cubicBezTo>
                    <a:cubicBezTo>
                      <a:pt x="281" y="407"/>
                      <a:pt x="281" y="407"/>
                      <a:pt x="281" y="407"/>
                    </a:cubicBezTo>
                    <a:cubicBezTo>
                      <a:pt x="281" y="407"/>
                      <a:pt x="281" y="407"/>
                      <a:pt x="281" y="4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9" name="Freeform 24"/>
              <p:cNvSpPr>
                <a:spLocks noEditPoints="1"/>
              </p:cNvSpPr>
              <p:nvPr/>
            </p:nvSpPr>
            <p:spPr bwMode="auto">
              <a:xfrm>
                <a:off x="4608" y="3622"/>
                <a:ext cx="1076" cy="1242"/>
              </a:xfrm>
              <a:custGeom>
                <a:avLst/>
                <a:gdLst>
                  <a:gd name="T0" fmla="*/ 226 w 455"/>
                  <a:gd name="T1" fmla="*/ 0 h 525"/>
                  <a:gd name="T2" fmla="*/ 0 w 455"/>
                  <a:gd name="T3" fmla="*/ 76 h 525"/>
                  <a:gd name="T4" fmla="*/ 0 w 455"/>
                  <a:gd name="T5" fmla="*/ 449 h 525"/>
                  <a:gd name="T6" fmla="*/ 226 w 455"/>
                  <a:gd name="T7" fmla="*/ 525 h 525"/>
                  <a:gd name="T8" fmla="*/ 455 w 455"/>
                  <a:gd name="T9" fmla="*/ 449 h 525"/>
                  <a:gd name="T10" fmla="*/ 455 w 455"/>
                  <a:gd name="T11" fmla="*/ 76 h 525"/>
                  <a:gd name="T12" fmla="*/ 226 w 455"/>
                  <a:gd name="T13" fmla="*/ 0 h 525"/>
                  <a:gd name="T14" fmla="*/ 226 w 455"/>
                  <a:gd name="T15" fmla="*/ 126 h 525"/>
                  <a:gd name="T16" fmla="*/ 35 w 455"/>
                  <a:gd name="T17" fmla="*/ 73 h 525"/>
                  <a:gd name="T18" fmla="*/ 226 w 455"/>
                  <a:gd name="T19" fmla="*/ 23 h 525"/>
                  <a:gd name="T20" fmla="*/ 420 w 455"/>
                  <a:gd name="T21" fmla="*/ 73 h 525"/>
                  <a:gd name="T22" fmla="*/ 226 w 455"/>
                  <a:gd name="T23" fmla="*/ 12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5" h="525">
                    <a:moveTo>
                      <a:pt x="226" y="0"/>
                    </a:moveTo>
                    <a:cubicBezTo>
                      <a:pt x="143" y="0"/>
                      <a:pt x="0" y="16"/>
                      <a:pt x="0" y="76"/>
                    </a:cubicBezTo>
                    <a:cubicBezTo>
                      <a:pt x="0" y="449"/>
                      <a:pt x="0" y="449"/>
                      <a:pt x="0" y="449"/>
                    </a:cubicBezTo>
                    <a:cubicBezTo>
                      <a:pt x="0" y="509"/>
                      <a:pt x="143" y="525"/>
                      <a:pt x="226" y="525"/>
                    </a:cubicBezTo>
                    <a:cubicBezTo>
                      <a:pt x="312" y="525"/>
                      <a:pt x="455" y="509"/>
                      <a:pt x="455" y="449"/>
                    </a:cubicBezTo>
                    <a:cubicBezTo>
                      <a:pt x="455" y="76"/>
                      <a:pt x="455" y="76"/>
                      <a:pt x="455" y="76"/>
                    </a:cubicBezTo>
                    <a:cubicBezTo>
                      <a:pt x="455" y="16"/>
                      <a:pt x="312" y="0"/>
                      <a:pt x="226" y="0"/>
                    </a:cubicBezTo>
                    <a:moveTo>
                      <a:pt x="226" y="126"/>
                    </a:moveTo>
                    <a:cubicBezTo>
                      <a:pt x="120" y="126"/>
                      <a:pt x="35" y="103"/>
                      <a:pt x="35" y="73"/>
                    </a:cubicBezTo>
                    <a:cubicBezTo>
                      <a:pt x="35" y="46"/>
                      <a:pt x="120" y="23"/>
                      <a:pt x="226" y="23"/>
                    </a:cubicBezTo>
                    <a:cubicBezTo>
                      <a:pt x="332" y="23"/>
                      <a:pt x="420" y="46"/>
                      <a:pt x="420" y="73"/>
                    </a:cubicBezTo>
                    <a:cubicBezTo>
                      <a:pt x="420" y="103"/>
                      <a:pt x="332" y="126"/>
                      <a:pt x="226" y="1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0" name="Freeform 25"/>
              <p:cNvSpPr>
                <a:spLocks noEditPoints="1"/>
              </p:cNvSpPr>
              <p:nvPr/>
            </p:nvSpPr>
            <p:spPr bwMode="auto">
              <a:xfrm>
                <a:off x="6050" y="1517"/>
                <a:ext cx="934" cy="1273"/>
              </a:xfrm>
              <a:custGeom>
                <a:avLst/>
                <a:gdLst>
                  <a:gd name="T0" fmla="*/ 337 w 395"/>
                  <a:gd name="T1" fmla="*/ 0 h 538"/>
                  <a:gd name="T2" fmla="*/ 58 w 395"/>
                  <a:gd name="T3" fmla="*/ 0 h 538"/>
                  <a:gd name="T4" fmla="*/ 0 w 395"/>
                  <a:gd name="T5" fmla="*/ 57 h 538"/>
                  <a:gd name="T6" fmla="*/ 0 w 395"/>
                  <a:gd name="T7" fmla="*/ 481 h 538"/>
                  <a:gd name="T8" fmla="*/ 58 w 395"/>
                  <a:gd name="T9" fmla="*/ 538 h 538"/>
                  <a:gd name="T10" fmla="*/ 337 w 395"/>
                  <a:gd name="T11" fmla="*/ 538 h 538"/>
                  <a:gd name="T12" fmla="*/ 395 w 395"/>
                  <a:gd name="T13" fmla="*/ 481 h 538"/>
                  <a:gd name="T14" fmla="*/ 395 w 395"/>
                  <a:gd name="T15" fmla="*/ 57 h 538"/>
                  <a:gd name="T16" fmla="*/ 337 w 395"/>
                  <a:gd name="T17" fmla="*/ 0 h 538"/>
                  <a:gd name="T18" fmla="*/ 363 w 395"/>
                  <a:gd name="T19" fmla="*/ 421 h 538"/>
                  <a:gd name="T20" fmla="*/ 337 w 395"/>
                  <a:gd name="T21" fmla="*/ 444 h 538"/>
                  <a:gd name="T22" fmla="*/ 58 w 395"/>
                  <a:gd name="T23" fmla="*/ 444 h 538"/>
                  <a:gd name="T24" fmla="*/ 35 w 395"/>
                  <a:gd name="T25" fmla="*/ 421 h 538"/>
                  <a:gd name="T26" fmla="*/ 35 w 395"/>
                  <a:gd name="T27" fmla="*/ 57 h 538"/>
                  <a:gd name="T28" fmla="*/ 58 w 395"/>
                  <a:gd name="T29" fmla="*/ 32 h 538"/>
                  <a:gd name="T30" fmla="*/ 337 w 395"/>
                  <a:gd name="T31" fmla="*/ 32 h 538"/>
                  <a:gd name="T32" fmla="*/ 363 w 395"/>
                  <a:gd name="T33" fmla="*/ 57 h 538"/>
                  <a:gd name="T34" fmla="*/ 363 w 395"/>
                  <a:gd name="T35" fmla="*/ 421 h 538"/>
                  <a:gd name="T36" fmla="*/ 363 w 395"/>
                  <a:gd name="T37" fmla="*/ 42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5" h="538">
                    <a:moveTo>
                      <a:pt x="337" y="0"/>
                    </a:moveTo>
                    <a:cubicBezTo>
                      <a:pt x="58" y="0"/>
                      <a:pt x="58" y="0"/>
                      <a:pt x="58" y="0"/>
                    </a:cubicBezTo>
                    <a:cubicBezTo>
                      <a:pt x="25" y="0"/>
                      <a:pt x="0" y="25"/>
                      <a:pt x="0" y="57"/>
                    </a:cubicBezTo>
                    <a:cubicBezTo>
                      <a:pt x="0" y="481"/>
                      <a:pt x="0" y="481"/>
                      <a:pt x="0" y="481"/>
                    </a:cubicBezTo>
                    <a:cubicBezTo>
                      <a:pt x="0" y="513"/>
                      <a:pt x="25" y="538"/>
                      <a:pt x="58" y="538"/>
                    </a:cubicBezTo>
                    <a:cubicBezTo>
                      <a:pt x="337" y="538"/>
                      <a:pt x="337" y="538"/>
                      <a:pt x="337" y="538"/>
                    </a:cubicBezTo>
                    <a:cubicBezTo>
                      <a:pt x="370" y="538"/>
                      <a:pt x="395" y="513"/>
                      <a:pt x="395" y="481"/>
                    </a:cubicBezTo>
                    <a:cubicBezTo>
                      <a:pt x="395" y="57"/>
                      <a:pt x="395" y="57"/>
                      <a:pt x="395" y="57"/>
                    </a:cubicBezTo>
                    <a:cubicBezTo>
                      <a:pt x="395" y="25"/>
                      <a:pt x="370" y="0"/>
                      <a:pt x="337" y="0"/>
                    </a:cubicBezTo>
                    <a:moveTo>
                      <a:pt x="363" y="421"/>
                    </a:moveTo>
                    <a:cubicBezTo>
                      <a:pt x="363" y="432"/>
                      <a:pt x="351" y="444"/>
                      <a:pt x="337" y="444"/>
                    </a:cubicBezTo>
                    <a:cubicBezTo>
                      <a:pt x="58" y="444"/>
                      <a:pt x="58" y="444"/>
                      <a:pt x="58" y="444"/>
                    </a:cubicBezTo>
                    <a:cubicBezTo>
                      <a:pt x="44" y="444"/>
                      <a:pt x="35" y="432"/>
                      <a:pt x="35" y="421"/>
                    </a:cubicBezTo>
                    <a:cubicBezTo>
                      <a:pt x="35" y="57"/>
                      <a:pt x="35" y="57"/>
                      <a:pt x="35" y="57"/>
                    </a:cubicBezTo>
                    <a:cubicBezTo>
                      <a:pt x="35" y="43"/>
                      <a:pt x="44" y="32"/>
                      <a:pt x="58" y="32"/>
                    </a:cubicBezTo>
                    <a:cubicBezTo>
                      <a:pt x="337" y="32"/>
                      <a:pt x="337" y="32"/>
                      <a:pt x="337" y="32"/>
                    </a:cubicBezTo>
                    <a:cubicBezTo>
                      <a:pt x="351" y="32"/>
                      <a:pt x="363" y="43"/>
                      <a:pt x="363" y="57"/>
                    </a:cubicBezTo>
                    <a:cubicBezTo>
                      <a:pt x="363" y="421"/>
                      <a:pt x="363" y="421"/>
                      <a:pt x="363" y="421"/>
                    </a:cubicBezTo>
                    <a:cubicBezTo>
                      <a:pt x="363" y="421"/>
                      <a:pt x="363" y="421"/>
                      <a:pt x="363" y="4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1" name="Oval 26"/>
              <p:cNvSpPr>
                <a:spLocks noChangeArrowheads="1"/>
              </p:cNvSpPr>
              <p:nvPr/>
            </p:nvSpPr>
            <p:spPr bwMode="auto">
              <a:xfrm>
                <a:off x="6313" y="2626"/>
                <a:ext cx="78" cy="7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 name="Oval 27"/>
              <p:cNvSpPr>
                <a:spLocks noChangeArrowheads="1"/>
              </p:cNvSpPr>
              <p:nvPr/>
            </p:nvSpPr>
            <p:spPr bwMode="auto">
              <a:xfrm>
                <a:off x="6646" y="2626"/>
                <a:ext cx="76" cy="7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 name="Oval 28"/>
              <p:cNvSpPr>
                <a:spLocks noChangeArrowheads="1"/>
              </p:cNvSpPr>
              <p:nvPr/>
            </p:nvSpPr>
            <p:spPr bwMode="auto">
              <a:xfrm>
                <a:off x="6481" y="2626"/>
                <a:ext cx="78" cy="7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4" name="Freeform 29"/>
              <p:cNvSpPr>
                <a:spLocks/>
              </p:cNvSpPr>
              <p:nvPr/>
            </p:nvSpPr>
            <p:spPr bwMode="auto">
              <a:xfrm>
                <a:off x="2247" y="3433"/>
                <a:ext cx="648" cy="232"/>
              </a:xfrm>
              <a:custGeom>
                <a:avLst/>
                <a:gdLst>
                  <a:gd name="T0" fmla="*/ 0 w 274"/>
                  <a:gd name="T1" fmla="*/ 98 h 98"/>
                  <a:gd name="T2" fmla="*/ 33 w 274"/>
                  <a:gd name="T3" fmla="*/ 89 h 98"/>
                  <a:gd name="T4" fmla="*/ 251 w 274"/>
                  <a:gd name="T5" fmla="*/ 89 h 98"/>
                  <a:gd name="T6" fmla="*/ 274 w 274"/>
                  <a:gd name="T7" fmla="*/ 94 h 98"/>
                  <a:gd name="T8" fmla="*/ 244 w 274"/>
                  <a:gd name="T9" fmla="*/ 34 h 98"/>
                  <a:gd name="T10" fmla="*/ 188 w 274"/>
                  <a:gd name="T11" fmla="*/ 0 h 98"/>
                  <a:gd name="T12" fmla="*/ 91 w 274"/>
                  <a:gd name="T13" fmla="*/ 0 h 98"/>
                  <a:gd name="T14" fmla="*/ 35 w 274"/>
                  <a:gd name="T15" fmla="*/ 34 h 98"/>
                  <a:gd name="T16" fmla="*/ 0 w 274"/>
                  <a:gd name="T17" fmla="*/ 98 h 98"/>
                  <a:gd name="T18" fmla="*/ 0 w 274"/>
                  <a:gd name="T1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98">
                    <a:moveTo>
                      <a:pt x="0" y="98"/>
                    </a:moveTo>
                    <a:cubicBezTo>
                      <a:pt x="10" y="91"/>
                      <a:pt x="21" y="89"/>
                      <a:pt x="33" y="89"/>
                    </a:cubicBezTo>
                    <a:cubicBezTo>
                      <a:pt x="251" y="89"/>
                      <a:pt x="251" y="89"/>
                      <a:pt x="251" y="89"/>
                    </a:cubicBezTo>
                    <a:cubicBezTo>
                      <a:pt x="258" y="89"/>
                      <a:pt x="267" y="91"/>
                      <a:pt x="274" y="94"/>
                    </a:cubicBezTo>
                    <a:cubicBezTo>
                      <a:pt x="244" y="34"/>
                      <a:pt x="244" y="34"/>
                      <a:pt x="244" y="34"/>
                    </a:cubicBezTo>
                    <a:cubicBezTo>
                      <a:pt x="235" y="16"/>
                      <a:pt x="209" y="0"/>
                      <a:pt x="188" y="0"/>
                    </a:cubicBezTo>
                    <a:cubicBezTo>
                      <a:pt x="91" y="0"/>
                      <a:pt x="91" y="0"/>
                      <a:pt x="91" y="0"/>
                    </a:cubicBezTo>
                    <a:cubicBezTo>
                      <a:pt x="70" y="0"/>
                      <a:pt x="44" y="16"/>
                      <a:pt x="35" y="34"/>
                    </a:cubicBezTo>
                    <a:cubicBezTo>
                      <a:pt x="0" y="98"/>
                      <a:pt x="0" y="98"/>
                      <a:pt x="0" y="98"/>
                    </a:cubicBezTo>
                    <a:cubicBezTo>
                      <a:pt x="0" y="98"/>
                      <a:pt x="0" y="98"/>
                      <a:pt x="0"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5" name="Freeform 30"/>
              <p:cNvSpPr>
                <a:spLocks noEditPoints="1"/>
              </p:cNvSpPr>
              <p:nvPr/>
            </p:nvSpPr>
            <p:spPr bwMode="auto">
              <a:xfrm>
                <a:off x="2233" y="3688"/>
                <a:ext cx="693" cy="1176"/>
              </a:xfrm>
              <a:custGeom>
                <a:avLst/>
                <a:gdLst>
                  <a:gd name="T0" fmla="*/ 275 w 293"/>
                  <a:gd name="T1" fmla="*/ 5 h 497"/>
                  <a:gd name="T2" fmla="*/ 256 w 293"/>
                  <a:gd name="T3" fmla="*/ 0 h 497"/>
                  <a:gd name="T4" fmla="*/ 39 w 293"/>
                  <a:gd name="T5" fmla="*/ 0 h 497"/>
                  <a:gd name="T6" fmla="*/ 20 w 293"/>
                  <a:gd name="T7" fmla="*/ 5 h 497"/>
                  <a:gd name="T8" fmla="*/ 0 w 293"/>
                  <a:gd name="T9" fmla="*/ 39 h 497"/>
                  <a:gd name="T10" fmla="*/ 0 w 293"/>
                  <a:gd name="T11" fmla="*/ 458 h 497"/>
                  <a:gd name="T12" fmla="*/ 39 w 293"/>
                  <a:gd name="T13" fmla="*/ 497 h 497"/>
                  <a:gd name="T14" fmla="*/ 256 w 293"/>
                  <a:gd name="T15" fmla="*/ 497 h 497"/>
                  <a:gd name="T16" fmla="*/ 293 w 293"/>
                  <a:gd name="T17" fmla="*/ 458 h 497"/>
                  <a:gd name="T18" fmla="*/ 293 w 293"/>
                  <a:gd name="T19" fmla="*/ 39 h 497"/>
                  <a:gd name="T20" fmla="*/ 275 w 293"/>
                  <a:gd name="T21" fmla="*/ 5 h 497"/>
                  <a:gd name="T22" fmla="*/ 243 w 293"/>
                  <a:gd name="T23" fmla="*/ 414 h 497"/>
                  <a:gd name="T24" fmla="*/ 67 w 293"/>
                  <a:gd name="T25" fmla="*/ 414 h 497"/>
                  <a:gd name="T26" fmla="*/ 51 w 293"/>
                  <a:gd name="T27" fmla="*/ 398 h 497"/>
                  <a:gd name="T28" fmla="*/ 67 w 293"/>
                  <a:gd name="T29" fmla="*/ 382 h 497"/>
                  <a:gd name="T30" fmla="*/ 243 w 293"/>
                  <a:gd name="T31" fmla="*/ 382 h 497"/>
                  <a:gd name="T32" fmla="*/ 256 w 293"/>
                  <a:gd name="T33" fmla="*/ 398 h 497"/>
                  <a:gd name="T34" fmla="*/ 243 w 293"/>
                  <a:gd name="T35" fmla="*/ 414 h 497"/>
                  <a:gd name="T36" fmla="*/ 243 w 293"/>
                  <a:gd name="T37" fmla="*/ 343 h 497"/>
                  <a:gd name="T38" fmla="*/ 67 w 293"/>
                  <a:gd name="T39" fmla="*/ 343 h 497"/>
                  <a:gd name="T40" fmla="*/ 51 w 293"/>
                  <a:gd name="T41" fmla="*/ 329 h 497"/>
                  <a:gd name="T42" fmla="*/ 67 w 293"/>
                  <a:gd name="T43" fmla="*/ 313 h 497"/>
                  <a:gd name="T44" fmla="*/ 243 w 293"/>
                  <a:gd name="T45" fmla="*/ 313 h 497"/>
                  <a:gd name="T46" fmla="*/ 256 w 293"/>
                  <a:gd name="T47" fmla="*/ 329 h 497"/>
                  <a:gd name="T48" fmla="*/ 243 w 293"/>
                  <a:gd name="T49" fmla="*/ 343 h 497"/>
                  <a:gd name="T50" fmla="*/ 243 w 293"/>
                  <a:gd name="T51" fmla="*/ 274 h 497"/>
                  <a:gd name="T52" fmla="*/ 67 w 293"/>
                  <a:gd name="T53" fmla="*/ 274 h 497"/>
                  <a:gd name="T54" fmla="*/ 51 w 293"/>
                  <a:gd name="T55" fmla="*/ 258 h 497"/>
                  <a:gd name="T56" fmla="*/ 67 w 293"/>
                  <a:gd name="T57" fmla="*/ 244 h 497"/>
                  <a:gd name="T58" fmla="*/ 243 w 293"/>
                  <a:gd name="T59" fmla="*/ 244 h 497"/>
                  <a:gd name="T60" fmla="*/ 256 w 293"/>
                  <a:gd name="T61" fmla="*/ 258 h 497"/>
                  <a:gd name="T62" fmla="*/ 243 w 293"/>
                  <a:gd name="T63" fmla="*/ 274 h 497"/>
                  <a:gd name="T64" fmla="*/ 236 w 293"/>
                  <a:gd name="T65" fmla="*/ 92 h 497"/>
                  <a:gd name="T66" fmla="*/ 215 w 293"/>
                  <a:gd name="T67" fmla="*/ 72 h 497"/>
                  <a:gd name="T68" fmla="*/ 236 w 293"/>
                  <a:gd name="T69" fmla="*/ 51 h 497"/>
                  <a:gd name="T70" fmla="*/ 256 w 293"/>
                  <a:gd name="T71" fmla="*/ 72 h 497"/>
                  <a:gd name="T72" fmla="*/ 236 w 293"/>
                  <a:gd name="T73" fmla="*/ 92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3" h="497">
                    <a:moveTo>
                      <a:pt x="275" y="5"/>
                    </a:moveTo>
                    <a:cubicBezTo>
                      <a:pt x="268" y="3"/>
                      <a:pt x="263" y="0"/>
                      <a:pt x="256" y="0"/>
                    </a:cubicBezTo>
                    <a:cubicBezTo>
                      <a:pt x="39" y="0"/>
                      <a:pt x="39" y="0"/>
                      <a:pt x="39" y="0"/>
                    </a:cubicBezTo>
                    <a:cubicBezTo>
                      <a:pt x="32" y="0"/>
                      <a:pt x="25" y="3"/>
                      <a:pt x="20" y="5"/>
                    </a:cubicBezTo>
                    <a:cubicBezTo>
                      <a:pt x="9" y="12"/>
                      <a:pt x="0" y="23"/>
                      <a:pt x="0" y="39"/>
                    </a:cubicBezTo>
                    <a:cubicBezTo>
                      <a:pt x="0" y="458"/>
                      <a:pt x="0" y="458"/>
                      <a:pt x="0" y="458"/>
                    </a:cubicBezTo>
                    <a:cubicBezTo>
                      <a:pt x="0" y="478"/>
                      <a:pt x="18" y="497"/>
                      <a:pt x="39" y="497"/>
                    </a:cubicBezTo>
                    <a:cubicBezTo>
                      <a:pt x="256" y="497"/>
                      <a:pt x="256" y="497"/>
                      <a:pt x="256" y="497"/>
                    </a:cubicBezTo>
                    <a:cubicBezTo>
                      <a:pt x="277" y="497"/>
                      <a:pt x="293" y="478"/>
                      <a:pt x="293" y="458"/>
                    </a:cubicBezTo>
                    <a:cubicBezTo>
                      <a:pt x="293" y="39"/>
                      <a:pt x="293" y="39"/>
                      <a:pt x="293" y="39"/>
                    </a:cubicBezTo>
                    <a:cubicBezTo>
                      <a:pt x="293" y="23"/>
                      <a:pt x="287" y="12"/>
                      <a:pt x="275" y="5"/>
                    </a:cubicBezTo>
                    <a:moveTo>
                      <a:pt x="243" y="414"/>
                    </a:moveTo>
                    <a:cubicBezTo>
                      <a:pt x="67" y="414"/>
                      <a:pt x="67" y="414"/>
                      <a:pt x="67" y="414"/>
                    </a:cubicBezTo>
                    <a:cubicBezTo>
                      <a:pt x="57" y="414"/>
                      <a:pt x="51" y="407"/>
                      <a:pt x="51" y="398"/>
                    </a:cubicBezTo>
                    <a:cubicBezTo>
                      <a:pt x="51" y="389"/>
                      <a:pt x="57" y="382"/>
                      <a:pt x="67" y="382"/>
                    </a:cubicBezTo>
                    <a:cubicBezTo>
                      <a:pt x="243" y="382"/>
                      <a:pt x="243" y="382"/>
                      <a:pt x="243" y="382"/>
                    </a:cubicBezTo>
                    <a:cubicBezTo>
                      <a:pt x="249" y="382"/>
                      <a:pt x="256" y="389"/>
                      <a:pt x="256" y="398"/>
                    </a:cubicBezTo>
                    <a:cubicBezTo>
                      <a:pt x="256" y="407"/>
                      <a:pt x="249" y="414"/>
                      <a:pt x="243" y="414"/>
                    </a:cubicBezTo>
                    <a:moveTo>
                      <a:pt x="243" y="343"/>
                    </a:moveTo>
                    <a:cubicBezTo>
                      <a:pt x="67" y="343"/>
                      <a:pt x="67" y="343"/>
                      <a:pt x="67" y="343"/>
                    </a:cubicBezTo>
                    <a:cubicBezTo>
                      <a:pt x="57" y="343"/>
                      <a:pt x="51" y="336"/>
                      <a:pt x="51" y="329"/>
                    </a:cubicBezTo>
                    <a:cubicBezTo>
                      <a:pt x="51" y="320"/>
                      <a:pt x="57" y="313"/>
                      <a:pt x="67" y="313"/>
                    </a:cubicBezTo>
                    <a:cubicBezTo>
                      <a:pt x="243" y="313"/>
                      <a:pt x="243" y="313"/>
                      <a:pt x="243" y="313"/>
                    </a:cubicBezTo>
                    <a:cubicBezTo>
                      <a:pt x="249" y="313"/>
                      <a:pt x="256" y="320"/>
                      <a:pt x="256" y="329"/>
                    </a:cubicBezTo>
                    <a:cubicBezTo>
                      <a:pt x="256" y="336"/>
                      <a:pt x="249" y="343"/>
                      <a:pt x="243" y="343"/>
                    </a:cubicBezTo>
                    <a:moveTo>
                      <a:pt x="243" y="274"/>
                    </a:moveTo>
                    <a:cubicBezTo>
                      <a:pt x="67" y="274"/>
                      <a:pt x="67" y="274"/>
                      <a:pt x="67" y="274"/>
                    </a:cubicBezTo>
                    <a:cubicBezTo>
                      <a:pt x="57" y="274"/>
                      <a:pt x="51" y="267"/>
                      <a:pt x="51" y="258"/>
                    </a:cubicBezTo>
                    <a:cubicBezTo>
                      <a:pt x="51" y="251"/>
                      <a:pt x="57" y="244"/>
                      <a:pt x="67" y="244"/>
                    </a:cubicBezTo>
                    <a:cubicBezTo>
                      <a:pt x="243" y="244"/>
                      <a:pt x="243" y="244"/>
                      <a:pt x="243" y="244"/>
                    </a:cubicBezTo>
                    <a:cubicBezTo>
                      <a:pt x="249" y="244"/>
                      <a:pt x="256" y="251"/>
                      <a:pt x="256" y="258"/>
                    </a:cubicBezTo>
                    <a:cubicBezTo>
                      <a:pt x="256" y="267"/>
                      <a:pt x="249" y="274"/>
                      <a:pt x="243" y="274"/>
                    </a:cubicBezTo>
                    <a:moveTo>
                      <a:pt x="236" y="92"/>
                    </a:moveTo>
                    <a:cubicBezTo>
                      <a:pt x="224" y="92"/>
                      <a:pt x="215" y="83"/>
                      <a:pt x="215" y="72"/>
                    </a:cubicBezTo>
                    <a:cubicBezTo>
                      <a:pt x="215" y="60"/>
                      <a:pt x="224" y="51"/>
                      <a:pt x="236" y="51"/>
                    </a:cubicBezTo>
                    <a:cubicBezTo>
                      <a:pt x="247" y="51"/>
                      <a:pt x="256" y="60"/>
                      <a:pt x="256" y="72"/>
                    </a:cubicBezTo>
                    <a:cubicBezTo>
                      <a:pt x="256" y="83"/>
                      <a:pt x="247" y="92"/>
                      <a:pt x="236" y="9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2" name="Cloud Callout 1"/>
          <p:cNvSpPr/>
          <p:nvPr/>
        </p:nvSpPr>
        <p:spPr>
          <a:xfrm>
            <a:off x="9247704" y="2280621"/>
            <a:ext cx="3130476" cy="2212649"/>
          </a:xfrm>
          <a:prstGeom prst="cloudCallout">
            <a:avLst>
              <a:gd name="adj1" fmla="val -29425"/>
              <a:gd name="adj2" fmla="val -10959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On the minds of business leaders and the technical community…</a:t>
            </a:r>
            <a:endParaRPr lang="en-US" b="1" dirty="0"/>
          </a:p>
        </p:txBody>
      </p:sp>
    </p:spTree>
    <p:extLst>
      <p:ext uri="{BB962C8B-B14F-4D97-AF65-F5344CB8AC3E}">
        <p14:creationId xmlns:p14="http://schemas.microsoft.com/office/powerpoint/2010/main" val="1125592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rrow"/>
          <p:cNvSpPr/>
          <p:nvPr/>
        </p:nvSpPr>
        <p:spPr bwMode="auto">
          <a:xfrm>
            <a:off x="6225078" y="1728940"/>
            <a:ext cx="5080974" cy="1036666"/>
          </a:xfrm>
          <a:prstGeom prst="homePlate">
            <a:avLst/>
          </a:prstGeom>
          <a:solidFill>
            <a:schemeClr val="tx1">
              <a:lumMod val="40000"/>
              <a:lumOff val="60000"/>
            </a:schemeClr>
          </a:solidFill>
          <a:ln w="25400" cap="flat" cmpd="sng" algn="ctr">
            <a:noFill/>
            <a:prstDash val="solid"/>
            <a:headEnd type="none" w="med" len="med"/>
            <a:tailEnd type="none" w="med" len="med"/>
          </a:ln>
          <a:effectLst/>
        </p:spPr>
        <p:txBody>
          <a:bodyPr vert="horz" wrap="square" lIns="731520" tIns="45696" rIns="91386" bIns="73109" numCol="1" rtlCol="0" anchor="ctr" anchorCtr="0" compatLnSpc="1">
            <a:prstTxWarp prst="textNoShape">
              <a:avLst/>
            </a:prstTxWarp>
          </a:bodyPr>
          <a:lstStyle/>
          <a:p>
            <a:pPr marL="0" lvl="1" defTabSz="913862"/>
            <a:r>
              <a:rPr lang="en-US" sz="2000" kern="0" spc="-23" dirty="0">
                <a:gradFill>
                  <a:gsLst>
                    <a:gs pos="72566">
                      <a:srgbClr val="002050"/>
                    </a:gs>
                    <a:gs pos="30000">
                      <a:srgbClr val="002050"/>
                    </a:gs>
                  </a:gsLst>
                  <a:lin ang="5400000" scaled="0"/>
                </a:gradFill>
                <a:latin typeface="Segoe UI Light"/>
              </a:rPr>
              <a:t>Innovation </a:t>
            </a:r>
            <a:r>
              <a:rPr lang="en-US" sz="2000" kern="0" spc="-23" dirty="0" smtClean="0">
                <a:gradFill>
                  <a:gsLst>
                    <a:gs pos="72566">
                      <a:srgbClr val="002050"/>
                    </a:gs>
                    <a:gs pos="30000">
                      <a:srgbClr val="002050"/>
                    </a:gs>
                  </a:gsLst>
                  <a:lin ang="5400000" scaled="0"/>
                </a:gradFill>
                <a:latin typeface="Segoe UI Light"/>
              </a:rPr>
              <a:t>at the core for </a:t>
            </a:r>
            <a:r>
              <a:rPr lang="en-US" sz="2000" kern="0" spc="-23" dirty="0">
                <a:gradFill>
                  <a:gsLst>
                    <a:gs pos="72566">
                      <a:srgbClr val="002050"/>
                    </a:gs>
                    <a:gs pos="30000">
                      <a:srgbClr val="002050"/>
                    </a:gs>
                  </a:gsLst>
                  <a:lin ang="5400000" scaled="0"/>
                </a:gradFill>
                <a:latin typeface="Segoe UI Light"/>
              </a:rPr>
              <a:t>your existing </a:t>
            </a:r>
            <a:r>
              <a:rPr lang="en-US" sz="2000" kern="0" spc="-23" dirty="0" smtClean="0">
                <a:gradFill>
                  <a:gsLst>
                    <a:gs pos="72566">
                      <a:srgbClr val="002050"/>
                    </a:gs>
                    <a:gs pos="30000">
                      <a:srgbClr val="002050"/>
                    </a:gs>
                  </a:gsLst>
                  <a:lin ang="5400000" scaled="0"/>
                </a:gradFill>
                <a:latin typeface="Segoe UI Light"/>
              </a:rPr>
              <a:t>and </a:t>
            </a:r>
            <a:r>
              <a:rPr lang="en-US" sz="2000" kern="0" spc="-23" dirty="0">
                <a:gradFill>
                  <a:gsLst>
                    <a:gs pos="72566">
                      <a:srgbClr val="002050"/>
                    </a:gs>
                    <a:gs pos="30000">
                      <a:srgbClr val="002050"/>
                    </a:gs>
                  </a:gsLst>
                  <a:lin ang="5400000" scaled="0"/>
                </a:gradFill>
                <a:latin typeface="Segoe UI Light"/>
              </a:rPr>
              <a:t>future </a:t>
            </a:r>
            <a:r>
              <a:rPr lang="en-US" sz="2000" kern="0" spc="-23" dirty="0" smtClean="0">
                <a:gradFill>
                  <a:gsLst>
                    <a:gs pos="72566">
                      <a:srgbClr val="002050"/>
                    </a:gs>
                    <a:gs pos="30000">
                      <a:srgbClr val="002050"/>
                    </a:gs>
                  </a:gsLst>
                  <a:lin ang="5400000" scaled="0"/>
                </a:gradFill>
                <a:latin typeface="Segoe UI Light"/>
              </a:rPr>
              <a:t>applications</a:t>
            </a:r>
            <a:endParaRPr lang="en-US" sz="2000" kern="0" spc="-23" dirty="0">
              <a:gradFill>
                <a:gsLst>
                  <a:gs pos="72566">
                    <a:srgbClr val="002050"/>
                  </a:gs>
                  <a:gs pos="30000">
                    <a:srgbClr val="002050"/>
                  </a:gs>
                </a:gsLst>
                <a:lin ang="5400000" scaled="0"/>
              </a:gradFill>
              <a:latin typeface="Segoe UI Light"/>
            </a:endParaRPr>
          </a:p>
        </p:txBody>
      </p:sp>
      <p:sp>
        <p:nvSpPr>
          <p:cNvPr id="5" name="3 arrow"/>
          <p:cNvSpPr/>
          <p:nvPr/>
        </p:nvSpPr>
        <p:spPr bwMode="auto">
          <a:xfrm>
            <a:off x="6225078" y="3365504"/>
            <a:ext cx="5080974" cy="1036666"/>
          </a:xfrm>
          <a:prstGeom prst="homePlate">
            <a:avLst/>
          </a:prstGeom>
          <a:solidFill>
            <a:schemeClr val="tx1">
              <a:lumMod val="40000"/>
              <a:lumOff val="60000"/>
            </a:schemeClr>
          </a:solidFill>
          <a:ln w="25400" cap="flat" cmpd="sng" algn="ctr">
            <a:noFill/>
            <a:prstDash val="solid"/>
            <a:headEnd type="none" w="med" len="med"/>
            <a:tailEnd type="none" w="med" len="med"/>
          </a:ln>
          <a:effectLst/>
        </p:spPr>
        <p:txBody>
          <a:bodyPr vert="horz" wrap="square" lIns="731520" tIns="45696" rIns="91386" bIns="73109" numCol="1" rtlCol="0" anchor="ctr" anchorCtr="0" compatLnSpc="1">
            <a:prstTxWarp prst="textNoShape">
              <a:avLst/>
            </a:prstTxWarp>
          </a:bodyPr>
          <a:lstStyle/>
          <a:p>
            <a:pPr marL="116575" lvl="1" defTabSz="699419">
              <a:lnSpc>
                <a:spcPct val="90000"/>
              </a:lnSpc>
              <a:spcBef>
                <a:spcPts val="459"/>
              </a:spcBef>
              <a:buSzPct val="90000"/>
              <a:tabLst>
                <a:tab pos="233149" algn="l"/>
                <a:tab pos="480871" algn="l"/>
              </a:tabLst>
              <a:defRPr/>
            </a:pPr>
            <a:r>
              <a:rPr lang="en-US" sz="2000" kern="0" spc="-23" dirty="0">
                <a:gradFill>
                  <a:gsLst>
                    <a:gs pos="72566">
                      <a:srgbClr val="002050"/>
                    </a:gs>
                    <a:gs pos="30000">
                      <a:srgbClr val="002050"/>
                    </a:gs>
                  </a:gsLst>
                  <a:lin ang="5400000" scaled="0"/>
                </a:gradFill>
                <a:latin typeface="Segoe UI Light"/>
              </a:rPr>
              <a:t>Continuous modular </a:t>
            </a:r>
            <a:r>
              <a:rPr lang="en-US" sz="2000" kern="0" spc="-23" dirty="0" smtClean="0">
                <a:gradFill>
                  <a:gsLst>
                    <a:gs pos="72566">
                      <a:srgbClr val="002050"/>
                    </a:gs>
                    <a:gs pos="30000">
                      <a:srgbClr val="002050"/>
                    </a:gs>
                  </a:gsLst>
                  <a:lin ang="5400000" scaled="0"/>
                </a:gradFill>
                <a:latin typeface="Segoe UI Light"/>
              </a:rPr>
              <a:t>releases</a:t>
            </a:r>
            <a:endParaRPr lang="en-US" sz="2000" kern="0" spc="-23" dirty="0">
              <a:gradFill>
                <a:gsLst>
                  <a:gs pos="72566">
                    <a:srgbClr val="002050"/>
                  </a:gs>
                  <a:gs pos="30000">
                    <a:srgbClr val="002050"/>
                  </a:gs>
                </a:gsLst>
                <a:lin ang="5400000" scaled="0"/>
              </a:gradFill>
              <a:latin typeface="Segoe UI Light"/>
            </a:endParaRPr>
          </a:p>
        </p:txBody>
      </p:sp>
      <p:sp>
        <p:nvSpPr>
          <p:cNvPr id="6" name="3 arrow"/>
          <p:cNvSpPr/>
          <p:nvPr/>
        </p:nvSpPr>
        <p:spPr bwMode="auto">
          <a:xfrm>
            <a:off x="6225078" y="5002069"/>
            <a:ext cx="5080974" cy="1036666"/>
          </a:xfrm>
          <a:prstGeom prst="homePlate">
            <a:avLst/>
          </a:prstGeom>
          <a:solidFill>
            <a:schemeClr val="tx1">
              <a:lumMod val="40000"/>
              <a:lumOff val="60000"/>
            </a:schemeClr>
          </a:solidFill>
          <a:ln w="25400" cap="flat" cmpd="sng" algn="ctr">
            <a:noFill/>
            <a:prstDash val="solid"/>
            <a:headEnd type="none" w="med" len="med"/>
            <a:tailEnd type="none" w="med" len="med"/>
          </a:ln>
          <a:effectLst/>
        </p:spPr>
        <p:txBody>
          <a:bodyPr vert="horz" wrap="square" lIns="731520" tIns="45696" rIns="91386" bIns="73109" numCol="1" rtlCol="0" anchor="ctr" anchorCtr="0" compatLnSpc="1">
            <a:prstTxWarp prst="textNoShape">
              <a:avLst/>
            </a:prstTxWarp>
          </a:bodyPr>
          <a:lstStyle/>
          <a:p>
            <a:pPr marL="116575" lvl="1" defTabSz="699419">
              <a:lnSpc>
                <a:spcPct val="90000"/>
              </a:lnSpc>
              <a:spcBef>
                <a:spcPts val="459"/>
              </a:spcBef>
              <a:buSzPct val="90000"/>
              <a:tabLst>
                <a:tab pos="233149" algn="l"/>
                <a:tab pos="480871" algn="l"/>
              </a:tabLst>
              <a:defRPr/>
            </a:pPr>
            <a:r>
              <a:rPr lang="en-US" sz="2000" kern="0" spc="-23" dirty="0">
                <a:gradFill>
                  <a:gsLst>
                    <a:gs pos="72566">
                      <a:srgbClr val="002050"/>
                    </a:gs>
                    <a:gs pos="30000">
                      <a:srgbClr val="002050"/>
                    </a:gs>
                  </a:gsLst>
                  <a:lin ang="5400000" scaled="0"/>
                </a:gradFill>
                <a:latin typeface="Segoe UI Light"/>
              </a:rPr>
              <a:t>Transparent, open and </a:t>
            </a:r>
            <a:r>
              <a:rPr lang="en-US" sz="2000" kern="0" spc="-23" dirty="0" smtClean="0">
                <a:gradFill>
                  <a:gsLst>
                    <a:gs pos="72566">
                      <a:srgbClr val="002050"/>
                    </a:gs>
                    <a:gs pos="30000">
                      <a:srgbClr val="002050"/>
                    </a:gs>
                  </a:gsLst>
                  <a:lin ang="5400000" scaled="0"/>
                </a:gradFill>
                <a:latin typeface="Segoe UI Light"/>
              </a:rPr>
              <a:t/>
            </a:r>
            <a:br>
              <a:rPr lang="en-US" sz="2000" kern="0" spc="-23" dirty="0" smtClean="0">
                <a:gradFill>
                  <a:gsLst>
                    <a:gs pos="72566">
                      <a:srgbClr val="002050"/>
                    </a:gs>
                    <a:gs pos="30000">
                      <a:srgbClr val="002050"/>
                    </a:gs>
                  </a:gsLst>
                  <a:lin ang="5400000" scaled="0"/>
                </a:gradFill>
                <a:latin typeface="Segoe UI Light"/>
              </a:rPr>
            </a:br>
            <a:r>
              <a:rPr lang="en-US" sz="2000" kern="0" spc="-23" dirty="0" smtClean="0">
                <a:gradFill>
                  <a:gsLst>
                    <a:gs pos="72566">
                      <a:srgbClr val="002050"/>
                    </a:gs>
                    <a:gs pos="30000">
                      <a:srgbClr val="002050"/>
                    </a:gs>
                  </a:gsLst>
                  <a:lin ang="5400000" scaled="0"/>
                </a:gradFill>
                <a:latin typeface="Segoe UI Light"/>
              </a:rPr>
              <a:t>community </a:t>
            </a:r>
            <a:r>
              <a:rPr lang="en-US" sz="2000" kern="0" spc="-23" dirty="0">
                <a:gradFill>
                  <a:gsLst>
                    <a:gs pos="72566">
                      <a:srgbClr val="002050"/>
                    </a:gs>
                    <a:gs pos="30000">
                      <a:srgbClr val="002050"/>
                    </a:gs>
                  </a:gsLst>
                  <a:lin ang="5400000" scaled="0"/>
                </a:gradFill>
                <a:latin typeface="Segoe UI Light"/>
              </a:rPr>
              <a:t>driven</a:t>
            </a:r>
          </a:p>
        </p:txBody>
      </p:sp>
      <p:sp>
        <p:nvSpPr>
          <p:cNvPr id="7" name="3 arrow"/>
          <p:cNvSpPr/>
          <p:nvPr/>
        </p:nvSpPr>
        <p:spPr bwMode="auto">
          <a:xfrm>
            <a:off x="1698649" y="1728940"/>
            <a:ext cx="5080974" cy="1036666"/>
          </a:xfrm>
          <a:prstGeom prst="homePlat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latin typeface="Segoe UI Light"/>
                <a:cs typeface="Segoe UI" panose="020B0502040204020203" pitchFamily="34" charset="0"/>
              </a:rPr>
              <a:t>.NET </a:t>
            </a:r>
            <a:r>
              <a:rPr lang="en-US" sz="2400" dirty="0" smtClean="0">
                <a:gradFill>
                  <a:gsLst>
                    <a:gs pos="0">
                      <a:srgbClr val="FFFFFF"/>
                    </a:gs>
                    <a:gs pos="100000">
                      <a:srgbClr val="FFFFFF"/>
                    </a:gs>
                  </a:gsLst>
                  <a:lin ang="5400000" scaled="0"/>
                </a:gradFill>
                <a:latin typeface="Segoe UI Light"/>
                <a:cs typeface="Segoe UI" panose="020B0502040204020203" pitchFamily="34" charset="0"/>
              </a:rPr>
              <a:t>innovation</a:t>
            </a:r>
            <a:endParaRPr lang="en-US" sz="2400" dirty="0">
              <a:gradFill>
                <a:gsLst>
                  <a:gs pos="0">
                    <a:srgbClr val="FFFFFF"/>
                  </a:gs>
                  <a:gs pos="100000">
                    <a:srgbClr val="FFFFFF"/>
                  </a:gs>
                </a:gsLst>
                <a:lin ang="5400000" scaled="0"/>
              </a:gradFill>
              <a:latin typeface="Segoe UI Light"/>
              <a:cs typeface="Segoe UI" panose="020B0502040204020203" pitchFamily="34" charset="0"/>
            </a:endParaRPr>
          </a:p>
        </p:txBody>
      </p:sp>
      <p:sp>
        <p:nvSpPr>
          <p:cNvPr id="8" name="3 arrow"/>
          <p:cNvSpPr/>
          <p:nvPr/>
        </p:nvSpPr>
        <p:spPr bwMode="auto">
          <a:xfrm>
            <a:off x="1698649" y="3365504"/>
            <a:ext cx="5080974" cy="1036666"/>
          </a:xfrm>
          <a:prstGeom prst="homePlat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latin typeface="Segoe UI Light"/>
                <a:cs typeface="Segoe UI" panose="020B0502040204020203" pitchFamily="34" charset="0"/>
              </a:rPr>
              <a:t>Flexibility and agile delivery</a:t>
            </a:r>
          </a:p>
        </p:txBody>
      </p:sp>
      <p:sp>
        <p:nvSpPr>
          <p:cNvPr id="9" name="3 arrow"/>
          <p:cNvSpPr/>
          <p:nvPr/>
        </p:nvSpPr>
        <p:spPr bwMode="auto">
          <a:xfrm>
            <a:off x="1698649" y="5002069"/>
            <a:ext cx="5080974" cy="1036666"/>
          </a:xfrm>
          <a:prstGeom prst="homePlat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latin typeface="Segoe UI Light"/>
                <a:cs typeface="Segoe UI" panose="020B0502040204020203" pitchFamily="34" charset="0"/>
              </a:rPr>
              <a:t>Openness</a:t>
            </a:r>
          </a:p>
        </p:txBody>
      </p:sp>
      <p:sp>
        <p:nvSpPr>
          <p:cNvPr id="11" name="Title 1"/>
          <p:cNvSpPr>
            <a:spLocks noGrp="1"/>
          </p:cNvSpPr>
          <p:nvPr>
            <p:ph type="title"/>
          </p:nvPr>
        </p:nvSpPr>
        <p:spPr>
          <a:xfrm>
            <a:off x="274639" y="295274"/>
            <a:ext cx="11889564" cy="917575"/>
          </a:xfrm>
        </p:spPr>
        <p:txBody>
          <a:bodyPr/>
          <a:lstStyle/>
          <a:p>
            <a:r>
              <a:rPr lang="en-US" sz="4800" dirty="0" smtClean="0"/>
              <a:t>Our new approach to building .NET</a:t>
            </a:r>
            <a:endParaRPr lang="en-US" sz="4800" dirty="0"/>
          </a:p>
        </p:txBody>
      </p:sp>
      <p:sp>
        <p:nvSpPr>
          <p:cNvPr id="12" name="Oval 11"/>
          <p:cNvSpPr/>
          <p:nvPr/>
        </p:nvSpPr>
        <p:spPr bwMode="auto">
          <a:xfrm>
            <a:off x="433091" y="4760949"/>
            <a:ext cx="1503107" cy="1503107"/>
          </a:xfrm>
          <a:prstGeom prst="ellipse">
            <a:avLst/>
          </a:prstGeom>
          <a:solidFill>
            <a:srgbClr val="FFFFFF"/>
          </a:solidFill>
          <a:ln w="762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b="1" dirty="0" smtClean="0">
                <a:gradFill>
                  <a:gsLst>
                    <a:gs pos="34513">
                      <a:srgbClr val="661F79"/>
                    </a:gs>
                    <a:gs pos="64000">
                      <a:srgbClr val="661F79"/>
                    </a:gs>
                  </a:gsLst>
                  <a:lin ang="5400000" scaled="0"/>
                </a:gradFill>
                <a:ea typeface="Segoe UI" pitchFamily="34" charset="0"/>
                <a:cs typeface="Segoe UI" pitchFamily="34" charset="0"/>
              </a:rPr>
              <a:t>OSS</a:t>
            </a:r>
            <a:endParaRPr lang="en-US" sz="2800" b="1" dirty="0">
              <a:gradFill>
                <a:gsLst>
                  <a:gs pos="34513">
                    <a:srgbClr val="661F79"/>
                  </a:gs>
                  <a:gs pos="64000">
                    <a:srgbClr val="661F79"/>
                  </a:gs>
                </a:gsLst>
                <a:lin ang="5400000" scaled="0"/>
              </a:gradFill>
              <a:ea typeface="Segoe UI" pitchFamily="34" charset="0"/>
              <a:cs typeface="Segoe UI" pitchFamily="34" charset="0"/>
            </a:endParaRPr>
          </a:p>
        </p:txBody>
      </p:sp>
      <p:grpSp>
        <p:nvGrpSpPr>
          <p:cNvPr id="13" name="Group 12"/>
          <p:cNvGrpSpPr/>
          <p:nvPr/>
        </p:nvGrpSpPr>
        <p:grpSpPr>
          <a:xfrm>
            <a:off x="433091" y="3124384"/>
            <a:ext cx="1503107" cy="1503107"/>
            <a:chOff x="433091" y="3124384"/>
            <a:chExt cx="1503107" cy="1503107"/>
          </a:xfrm>
        </p:grpSpPr>
        <p:sp>
          <p:nvSpPr>
            <p:cNvPr id="14" name="Oval 13"/>
            <p:cNvSpPr/>
            <p:nvPr/>
          </p:nvSpPr>
          <p:spPr bwMode="auto">
            <a:xfrm>
              <a:off x="433091" y="3124384"/>
              <a:ext cx="1503107" cy="1503107"/>
            </a:xfrm>
            <a:prstGeom prst="ellipse">
              <a:avLst/>
            </a:prstGeom>
            <a:solidFill>
              <a:srgbClr val="FFFFFF"/>
            </a:solidFill>
            <a:ln w="762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2" descr="NuGet"/>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22595" y="3690910"/>
              <a:ext cx="1324098" cy="3700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433091" y="1487820"/>
            <a:ext cx="1503107" cy="1517929"/>
            <a:chOff x="433091" y="1487820"/>
            <a:chExt cx="1503107" cy="1517929"/>
          </a:xfrm>
        </p:grpSpPr>
        <p:sp>
          <p:nvSpPr>
            <p:cNvPr id="17" name="Oval 16"/>
            <p:cNvSpPr/>
            <p:nvPr/>
          </p:nvSpPr>
          <p:spPr bwMode="auto">
            <a:xfrm>
              <a:off x="433091" y="1487820"/>
              <a:ext cx="1503107" cy="1503107"/>
            </a:xfrm>
            <a:prstGeom prst="ellipse">
              <a:avLst/>
            </a:prstGeom>
            <a:solidFill>
              <a:srgbClr val="FFFFFF"/>
            </a:solidFill>
            <a:ln w="762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579437" y="2377885"/>
              <a:ext cx="1191615" cy="627864"/>
            </a:xfrm>
            <a:prstGeom prst="rect">
              <a:avLst/>
            </a:prstGeom>
            <a:noFill/>
          </p:spPr>
          <p:txBody>
            <a:bodyPr wrap="square" lIns="182880" tIns="146304" rIns="182880" bIns="146304" rtlCol="0">
              <a:spAutoFit/>
            </a:bodyPr>
            <a:lstStyle/>
            <a:p>
              <a:pPr algn="ctr" defTabSz="932472" fontAlgn="base">
                <a:lnSpc>
                  <a:spcPct val="90000"/>
                </a:lnSpc>
                <a:spcBef>
                  <a:spcPct val="0"/>
                </a:spcBef>
                <a:spcAft>
                  <a:spcPct val="0"/>
                </a:spcAft>
              </a:pPr>
              <a:r>
                <a:rPr lang="en-US" sz="2400" dirty="0">
                  <a:gradFill>
                    <a:gsLst>
                      <a:gs pos="34513">
                        <a:srgbClr val="661F79"/>
                      </a:gs>
                      <a:gs pos="64000">
                        <a:srgbClr val="661F79"/>
                      </a:gs>
                    </a:gsLst>
                    <a:lin ang="5400000" scaled="0"/>
                  </a:gradFill>
                  <a:ea typeface="Segoe UI" pitchFamily="34" charset="0"/>
                  <a:cs typeface="Segoe UI" pitchFamily="34" charset="0"/>
                </a:rPr>
                <a:t>.NET</a:t>
              </a:r>
            </a:p>
          </p:txBody>
        </p:sp>
        <p:sp>
          <p:nvSpPr>
            <p:cNvPr id="19" name="Right Arrow 18"/>
            <p:cNvSpPr/>
            <p:nvPr/>
          </p:nvSpPr>
          <p:spPr bwMode="auto">
            <a:xfrm rot="16200000">
              <a:off x="929122" y="2076019"/>
              <a:ext cx="500913" cy="282702"/>
            </a:xfrm>
            <a:prstGeom prst="rightArrow">
              <a:avLst>
                <a:gd name="adj1" fmla="val 39832"/>
                <a:gd name="adj2" fmla="val 68532"/>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648375" y="1921957"/>
              <a:ext cx="296260" cy="296260"/>
            </a:xfrm>
            <a:custGeom>
              <a:avLst/>
              <a:gdLst>
                <a:gd name="T0" fmla="*/ 126 w 169"/>
                <a:gd name="T1" fmla="*/ 0 h 169"/>
                <a:gd name="T2" fmla="*/ 59 w 169"/>
                <a:gd name="T3" fmla="*/ 67 h 169"/>
                <a:gd name="T4" fmla="*/ 17 w 169"/>
                <a:gd name="T5" fmla="*/ 34 h 169"/>
                <a:gd name="T6" fmla="*/ 0 w 169"/>
                <a:gd name="T7" fmla="*/ 42 h 169"/>
                <a:gd name="T8" fmla="*/ 0 w 169"/>
                <a:gd name="T9" fmla="*/ 126 h 169"/>
                <a:gd name="T10" fmla="*/ 17 w 169"/>
                <a:gd name="T11" fmla="*/ 135 h 169"/>
                <a:gd name="T12" fmla="*/ 59 w 169"/>
                <a:gd name="T13" fmla="*/ 102 h 169"/>
                <a:gd name="T14" fmla="*/ 126 w 169"/>
                <a:gd name="T15" fmla="*/ 169 h 169"/>
                <a:gd name="T16" fmla="*/ 169 w 169"/>
                <a:gd name="T17" fmla="*/ 152 h 169"/>
                <a:gd name="T18" fmla="*/ 169 w 169"/>
                <a:gd name="T19" fmla="*/ 17 h 169"/>
                <a:gd name="T20" fmla="*/ 126 w 169"/>
                <a:gd name="T21" fmla="*/ 0 h 169"/>
                <a:gd name="T22" fmla="*/ 126 w 169"/>
                <a:gd name="T23" fmla="*/ 0 h 169"/>
                <a:gd name="T24" fmla="*/ 17 w 169"/>
                <a:gd name="T25" fmla="*/ 110 h 169"/>
                <a:gd name="T26" fmla="*/ 17 w 169"/>
                <a:gd name="T27" fmla="*/ 59 h 169"/>
                <a:gd name="T28" fmla="*/ 42 w 169"/>
                <a:gd name="T29" fmla="*/ 84 h 169"/>
                <a:gd name="T30" fmla="*/ 17 w 169"/>
                <a:gd name="T31" fmla="*/ 110 h 169"/>
                <a:gd name="T32" fmla="*/ 17 w 169"/>
                <a:gd name="T33" fmla="*/ 110 h 169"/>
                <a:gd name="T34" fmla="*/ 82 w 169"/>
                <a:gd name="T35" fmla="*/ 84 h 169"/>
                <a:gd name="T36" fmla="*/ 126 w 169"/>
                <a:gd name="T37" fmla="*/ 49 h 169"/>
                <a:gd name="T38" fmla="*/ 126 w 169"/>
                <a:gd name="T39" fmla="*/ 119 h 169"/>
                <a:gd name="T40" fmla="*/ 82 w 169"/>
                <a:gd name="T41" fmla="*/ 84 h 169"/>
                <a:gd name="T42" fmla="*/ 82 w 169"/>
                <a:gd name="T43"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69">
                  <a:moveTo>
                    <a:pt x="126" y="0"/>
                  </a:moveTo>
                  <a:cubicBezTo>
                    <a:pt x="59" y="67"/>
                    <a:pt x="59" y="67"/>
                    <a:pt x="59" y="67"/>
                  </a:cubicBezTo>
                  <a:cubicBezTo>
                    <a:pt x="17" y="34"/>
                    <a:pt x="17" y="34"/>
                    <a:pt x="17" y="34"/>
                  </a:cubicBezTo>
                  <a:cubicBezTo>
                    <a:pt x="0" y="42"/>
                    <a:pt x="0" y="42"/>
                    <a:pt x="0" y="42"/>
                  </a:cubicBezTo>
                  <a:cubicBezTo>
                    <a:pt x="0" y="126"/>
                    <a:pt x="0" y="126"/>
                    <a:pt x="0" y="126"/>
                  </a:cubicBezTo>
                  <a:cubicBezTo>
                    <a:pt x="17" y="135"/>
                    <a:pt x="17" y="135"/>
                    <a:pt x="17" y="135"/>
                  </a:cubicBezTo>
                  <a:cubicBezTo>
                    <a:pt x="59" y="102"/>
                    <a:pt x="59" y="102"/>
                    <a:pt x="59" y="102"/>
                  </a:cubicBezTo>
                  <a:cubicBezTo>
                    <a:pt x="126" y="169"/>
                    <a:pt x="126" y="169"/>
                    <a:pt x="126" y="169"/>
                  </a:cubicBezTo>
                  <a:cubicBezTo>
                    <a:pt x="169" y="152"/>
                    <a:pt x="169" y="152"/>
                    <a:pt x="169" y="152"/>
                  </a:cubicBezTo>
                  <a:cubicBezTo>
                    <a:pt x="169" y="17"/>
                    <a:pt x="169" y="17"/>
                    <a:pt x="169" y="17"/>
                  </a:cubicBezTo>
                  <a:cubicBezTo>
                    <a:pt x="126" y="0"/>
                    <a:pt x="126" y="0"/>
                    <a:pt x="126" y="0"/>
                  </a:cubicBezTo>
                  <a:cubicBezTo>
                    <a:pt x="126" y="0"/>
                    <a:pt x="126" y="0"/>
                    <a:pt x="126" y="0"/>
                  </a:cubicBezTo>
                  <a:close/>
                  <a:moveTo>
                    <a:pt x="17" y="110"/>
                  </a:moveTo>
                  <a:cubicBezTo>
                    <a:pt x="17" y="59"/>
                    <a:pt x="17" y="59"/>
                    <a:pt x="17" y="59"/>
                  </a:cubicBezTo>
                  <a:cubicBezTo>
                    <a:pt x="42" y="84"/>
                    <a:pt x="42" y="84"/>
                    <a:pt x="42" y="84"/>
                  </a:cubicBezTo>
                  <a:cubicBezTo>
                    <a:pt x="17" y="110"/>
                    <a:pt x="17" y="110"/>
                    <a:pt x="17" y="110"/>
                  </a:cubicBezTo>
                  <a:cubicBezTo>
                    <a:pt x="17" y="110"/>
                    <a:pt x="17" y="110"/>
                    <a:pt x="17" y="110"/>
                  </a:cubicBezTo>
                  <a:close/>
                  <a:moveTo>
                    <a:pt x="82" y="84"/>
                  </a:moveTo>
                  <a:cubicBezTo>
                    <a:pt x="126" y="49"/>
                    <a:pt x="126" y="49"/>
                    <a:pt x="126" y="49"/>
                  </a:cubicBezTo>
                  <a:cubicBezTo>
                    <a:pt x="126" y="119"/>
                    <a:pt x="126" y="119"/>
                    <a:pt x="126" y="119"/>
                  </a:cubicBezTo>
                  <a:cubicBezTo>
                    <a:pt x="82" y="84"/>
                    <a:pt x="82" y="84"/>
                    <a:pt x="82" y="84"/>
                  </a:cubicBezTo>
                  <a:cubicBezTo>
                    <a:pt x="82" y="84"/>
                    <a:pt x="82" y="84"/>
                    <a:pt x="82" y="84"/>
                  </a:cubicBezTo>
                  <a:close/>
                </a:path>
              </a:pathLst>
            </a:custGeom>
            <a:solidFill>
              <a:srgbClr val="68217A"/>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20"/>
            <p:cNvSpPr>
              <a:spLocks noEditPoints="1"/>
            </p:cNvSpPr>
            <p:nvPr/>
          </p:nvSpPr>
          <p:spPr bwMode="auto">
            <a:xfrm>
              <a:off x="1413680" y="1920774"/>
              <a:ext cx="308078" cy="312840"/>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rgbClr val="661F79"/>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28"/>
            <p:cNvSpPr>
              <a:spLocks noChangeAspect="1"/>
            </p:cNvSpPr>
            <p:nvPr/>
          </p:nvSpPr>
          <p:spPr bwMode="white">
            <a:xfrm>
              <a:off x="949955" y="1642472"/>
              <a:ext cx="459248" cy="25369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661F79"/>
            </a:solidFill>
            <a:ln>
              <a:noFill/>
            </a:ln>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grpSp>
    </p:spTree>
    <p:extLst>
      <p:ext uri="{BB962C8B-B14F-4D97-AF65-F5344CB8AC3E}">
        <p14:creationId xmlns:p14="http://schemas.microsoft.com/office/powerpoint/2010/main" val="539422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250" fill="hold"/>
                                        <p:tgtEl>
                                          <p:spTgt spid="16"/>
                                        </p:tgtEl>
                                        <p:attrNameLst>
                                          <p:attrName>ppt_w</p:attrName>
                                        </p:attrNameLst>
                                      </p:cBhvr>
                                      <p:tavLst>
                                        <p:tav tm="0">
                                          <p:val>
                                            <p:fltVal val="0"/>
                                          </p:val>
                                        </p:tav>
                                        <p:tav tm="100000">
                                          <p:val>
                                            <p:strVal val="#ppt_w"/>
                                          </p:val>
                                        </p:tav>
                                      </p:tavLst>
                                    </p:anim>
                                    <p:anim calcmode="lin" valueType="num">
                                      <p:cBhvr>
                                        <p:cTn id="8" dur="250" fill="hold"/>
                                        <p:tgtEl>
                                          <p:spTgt spid="16"/>
                                        </p:tgtEl>
                                        <p:attrNameLst>
                                          <p:attrName>ppt_h</p:attrName>
                                        </p:attrNameLst>
                                      </p:cBhvr>
                                      <p:tavLst>
                                        <p:tav tm="0">
                                          <p:val>
                                            <p:fltVal val="0"/>
                                          </p:val>
                                        </p:tav>
                                        <p:tav tm="100000">
                                          <p:val>
                                            <p:strVal val="#ppt_h"/>
                                          </p:val>
                                        </p:tav>
                                      </p:tavLst>
                                    </p:anim>
                                    <p:animEffect transition="in" filter="fade">
                                      <p:cBhvr>
                                        <p:cTn id="9" dur="250"/>
                                        <p:tgtEl>
                                          <p:spTgt spid="16"/>
                                        </p:tgtEl>
                                      </p:cBhvr>
                                    </p:animEffect>
                                  </p:childTnLst>
                                </p:cTn>
                              </p:par>
                              <p:par>
                                <p:cTn id="10" presetID="6" presetClass="emph" presetSubtype="0" decel="100000" fill="hold" nodeType="withEffect">
                                  <p:stCondLst>
                                    <p:cond delay="100"/>
                                  </p:stCondLst>
                                  <p:childTnLst>
                                    <p:animScale>
                                      <p:cBhvr>
                                        <p:cTn id="11" dur="250" fill="hold"/>
                                        <p:tgtEl>
                                          <p:spTgt spid="16"/>
                                        </p:tgtEl>
                                      </p:cBhvr>
                                      <p:by x="110000" y="110000"/>
                                    </p:animScale>
                                  </p:childTnLst>
                                </p:cTn>
                              </p:par>
                              <p:par>
                                <p:cTn id="12" presetID="6" presetClass="emph" presetSubtype="0" decel="100000" fill="hold" nodeType="withEffect">
                                  <p:stCondLst>
                                    <p:cond delay="200"/>
                                  </p:stCondLst>
                                  <p:childTnLst>
                                    <p:animScale>
                                      <p:cBhvr>
                                        <p:cTn id="13" dur="250" fill="hold"/>
                                        <p:tgtEl>
                                          <p:spTgt spid="16"/>
                                        </p:tgtEl>
                                      </p:cBhvr>
                                      <p:by x="91000" y="91000"/>
                                    </p:animScale>
                                  </p:childTnLst>
                                </p:cTn>
                              </p:par>
                              <p:par>
                                <p:cTn id="14" presetID="53" presetClass="entr" presetSubtype="16" fill="hold" nodeType="withEffect">
                                  <p:stCondLst>
                                    <p:cond delay="100"/>
                                  </p:stCondLst>
                                  <p:childTnLst>
                                    <p:set>
                                      <p:cBhvr>
                                        <p:cTn id="15" dur="1" fill="hold">
                                          <p:stCondLst>
                                            <p:cond delay="0"/>
                                          </p:stCondLst>
                                        </p:cTn>
                                        <p:tgtEl>
                                          <p:spTgt spid="13"/>
                                        </p:tgtEl>
                                        <p:attrNameLst>
                                          <p:attrName>style.visibility</p:attrName>
                                        </p:attrNameLst>
                                      </p:cBhvr>
                                      <p:to>
                                        <p:strVal val="visible"/>
                                      </p:to>
                                    </p:set>
                                    <p:anim calcmode="lin" valueType="num">
                                      <p:cBhvr>
                                        <p:cTn id="16" dur="250" fill="hold"/>
                                        <p:tgtEl>
                                          <p:spTgt spid="13"/>
                                        </p:tgtEl>
                                        <p:attrNameLst>
                                          <p:attrName>ppt_w</p:attrName>
                                        </p:attrNameLst>
                                      </p:cBhvr>
                                      <p:tavLst>
                                        <p:tav tm="0">
                                          <p:val>
                                            <p:fltVal val="0"/>
                                          </p:val>
                                        </p:tav>
                                        <p:tav tm="100000">
                                          <p:val>
                                            <p:strVal val="#ppt_w"/>
                                          </p:val>
                                        </p:tav>
                                      </p:tavLst>
                                    </p:anim>
                                    <p:anim calcmode="lin" valueType="num">
                                      <p:cBhvr>
                                        <p:cTn id="17" dur="250" fill="hold"/>
                                        <p:tgtEl>
                                          <p:spTgt spid="13"/>
                                        </p:tgtEl>
                                        <p:attrNameLst>
                                          <p:attrName>ppt_h</p:attrName>
                                        </p:attrNameLst>
                                      </p:cBhvr>
                                      <p:tavLst>
                                        <p:tav tm="0">
                                          <p:val>
                                            <p:fltVal val="0"/>
                                          </p:val>
                                        </p:tav>
                                        <p:tav tm="100000">
                                          <p:val>
                                            <p:strVal val="#ppt_h"/>
                                          </p:val>
                                        </p:tav>
                                      </p:tavLst>
                                    </p:anim>
                                    <p:animEffect transition="in" filter="fade">
                                      <p:cBhvr>
                                        <p:cTn id="18" dur="250"/>
                                        <p:tgtEl>
                                          <p:spTgt spid="13"/>
                                        </p:tgtEl>
                                      </p:cBhvr>
                                    </p:animEffect>
                                  </p:childTnLst>
                                </p:cTn>
                              </p:par>
                              <p:par>
                                <p:cTn id="19" presetID="6" presetClass="emph" presetSubtype="0" decel="100000" fill="hold" nodeType="withEffect">
                                  <p:stCondLst>
                                    <p:cond delay="200"/>
                                  </p:stCondLst>
                                  <p:childTnLst>
                                    <p:animScale>
                                      <p:cBhvr>
                                        <p:cTn id="20" dur="250" fill="hold"/>
                                        <p:tgtEl>
                                          <p:spTgt spid="13"/>
                                        </p:tgtEl>
                                      </p:cBhvr>
                                      <p:by x="110000" y="110000"/>
                                    </p:animScale>
                                  </p:childTnLst>
                                </p:cTn>
                              </p:par>
                              <p:par>
                                <p:cTn id="21" presetID="6" presetClass="emph" presetSubtype="0" decel="100000" fill="hold" nodeType="withEffect">
                                  <p:stCondLst>
                                    <p:cond delay="300"/>
                                  </p:stCondLst>
                                  <p:childTnLst>
                                    <p:animScale>
                                      <p:cBhvr>
                                        <p:cTn id="22" dur="250" fill="hold"/>
                                        <p:tgtEl>
                                          <p:spTgt spid="13"/>
                                        </p:tgtEl>
                                      </p:cBhvr>
                                      <p:by x="91000" y="91000"/>
                                    </p:animScale>
                                  </p:childTnLst>
                                </p:cTn>
                              </p:par>
                              <p:par>
                                <p:cTn id="23" presetID="53" presetClass="entr" presetSubtype="16" fill="hold" grpId="0" nodeType="withEffect">
                                  <p:stCondLst>
                                    <p:cond delay="200"/>
                                  </p:stCondLst>
                                  <p:childTnLst>
                                    <p:set>
                                      <p:cBhvr>
                                        <p:cTn id="24" dur="1" fill="hold">
                                          <p:stCondLst>
                                            <p:cond delay="0"/>
                                          </p:stCondLst>
                                        </p:cTn>
                                        <p:tgtEl>
                                          <p:spTgt spid="12"/>
                                        </p:tgtEl>
                                        <p:attrNameLst>
                                          <p:attrName>style.visibility</p:attrName>
                                        </p:attrNameLst>
                                      </p:cBhvr>
                                      <p:to>
                                        <p:strVal val="visible"/>
                                      </p:to>
                                    </p:set>
                                    <p:anim calcmode="lin" valueType="num">
                                      <p:cBhvr>
                                        <p:cTn id="25" dur="250" fill="hold"/>
                                        <p:tgtEl>
                                          <p:spTgt spid="12"/>
                                        </p:tgtEl>
                                        <p:attrNameLst>
                                          <p:attrName>ppt_w</p:attrName>
                                        </p:attrNameLst>
                                      </p:cBhvr>
                                      <p:tavLst>
                                        <p:tav tm="0">
                                          <p:val>
                                            <p:fltVal val="0"/>
                                          </p:val>
                                        </p:tav>
                                        <p:tav tm="100000">
                                          <p:val>
                                            <p:strVal val="#ppt_w"/>
                                          </p:val>
                                        </p:tav>
                                      </p:tavLst>
                                    </p:anim>
                                    <p:anim calcmode="lin" valueType="num">
                                      <p:cBhvr>
                                        <p:cTn id="26" dur="250" fill="hold"/>
                                        <p:tgtEl>
                                          <p:spTgt spid="12"/>
                                        </p:tgtEl>
                                        <p:attrNameLst>
                                          <p:attrName>ppt_h</p:attrName>
                                        </p:attrNameLst>
                                      </p:cBhvr>
                                      <p:tavLst>
                                        <p:tav tm="0">
                                          <p:val>
                                            <p:fltVal val="0"/>
                                          </p:val>
                                        </p:tav>
                                        <p:tav tm="100000">
                                          <p:val>
                                            <p:strVal val="#ppt_h"/>
                                          </p:val>
                                        </p:tav>
                                      </p:tavLst>
                                    </p:anim>
                                    <p:animEffect transition="in" filter="fade">
                                      <p:cBhvr>
                                        <p:cTn id="27" dur="250"/>
                                        <p:tgtEl>
                                          <p:spTgt spid="12"/>
                                        </p:tgtEl>
                                      </p:cBhvr>
                                    </p:animEffect>
                                  </p:childTnLst>
                                </p:cTn>
                              </p:par>
                              <p:par>
                                <p:cTn id="28" presetID="6" presetClass="emph" presetSubtype="0" decel="100000" fill="hold" grpId="1" nodeType="withEffect">
                                  <p:stCondLst>
                                    <p:cond delay="300"/>
                                  </p:stCondLst>
                                  <p:childTnLst>
                                    <p:animScale>
                                      <p:cBhvr>
                                        <p:cTn id="29" dur="250" fill="hold"/>
                                        <p:tgtEl>
                                          <p:spTgt spid="12"/>
                                        </p:tgtEl>
                                      </p:cBhvr>
                                      <p:by x="110000" y="110000"/>
                                    </p:animScale>
                                  </p:childTnLst>
                                </p:cTn>
                              </p:par>
                              <p:par>
                                <p:cTn id="30" presetID="6" presetClass="emph" presetSubtype="0" decel="100000" fill="hold" grpId="2" nodeType="withEffect">
                                  <p:stCondLst>
                                    <p:cond delay="400"/>
                                  </p:stCondLst>
                                  <p:childTnLst>
                                    <p:animScale>
                                      <p:cBhvr>
                                        <p:cTn id="31" dur="250" fill="hold"/>
                                        <p:tgtEl>
                                          <p:spTgt spid="12"/>
                                        </p:tgtEl>
                                      </p:cBhvr>
                                      <p:by x="91000" y="91000"/>
                                    </p:animScale>
                                  </p:childTnLst>
                                </p:cTn>
                              </p:par>
                            </p:childTnLst>
                          </p:cTn>
                        </p:par>
                        <p:par>
                          <p:cTn id="32" fill="hold">
                            <p:stCondLst>
                              <p:cond delay="650"/>
                            </p:stCondLst>
                            <p:childTnLst>
                              <p:par>
                                <p:cTn id="33" presetID="2" presetClass="entr" presetSubtype="8" decel="100000" fill="hold" grpId="0" nodeType="after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additive="base">
                                        <p:cTn id="35" dur="700" fill="hold"/>
                                        <p:tgtEl>
                                          <p:spTgt spid="7"/>
                                        </p:tgtEl>
                                        <p:attrNameLst>
                                          <p:attrName>ppt_x</p:attrName>
                                        </p:attrNameLst>
                                      </p:cBhvr>
                                      <p:tavLst>
                                        <p:tav tm="0">
                                          <p:val>
                                            <p:strVal val="0-#ppt_w/2"/>
                                          </p:val>
                                        </p:tav>
                                        <p:tav tm="100000">
                                          <p:val>
                                            <p:strVal val="#ppt_x"/>
                                          </p:val>
                                        </p:tav>
                                      </p:tavLst>
                                    </p:anim>
                                    <p:anim calcmode="lin" valueType="num">
                                      <p:cBhvr additive="base">
                                        <p:cTn id="36" dur="700" fill="hold"/>
                                        <p:tgtEl>
                                          <p:spTgt spid="7"/>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10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700" fill="hold"/>
                                        <p:tgtEl>
                                          <p:spTgt spid="8"/>
                                        </p:tgtEl>
                                        <p:attrNameLst>
                                          <p:attrName>ppt_x</p:attrName>
                                        </p:attrNameLst>
                                      </p:cBhvr>
                                      <p:tavLst>
                                        <p:tav tm="0">
                                          <p:val>
                                            <p:strVal val="0-#ppt_w/2"/>
                                          </p:val>
                                        </p:tav>
                                        <p:tav tm="100000">
                                          <p:val>
                                            <p:strVal val="#ppt_x"/>
                                          </p:val>
                                        </p:tav>
                                      </p:tavLst>
                                    </p:anim>
                                    <p:anim calcmode="lin" valueType="num">
                                      <p:cBhvr additive="base">
                                        <p:cTn id="40" dur="700" fill="hold"/>
                                        <p:tgtEl>
                                          <p:spTgt spid="8"/>
                                        </p:tgtEl>
                                        <p:attrNameLst>
                                          <p:attrName>ppt_y</p:attrName>
                                        </p:attrNameLst>
                                      </p:cBhvr>
                                      <p:tavLst>
                                        <p:tav tm="0">
                                          <p:val>
                                            <p:strVal val="#ppt_y"/>
                                          </p:val>
                                        </p:tav>
                                        <p:tav tm="100000">
                                          <p:val>
                                            <p:strVal val="#ppt_y"/>
                                          </p:val>
                                        </p:tav>
                                      </p:tavLst>
                                    </p:anim>
                                  </p:childTnLst>
                                </p:cTn>
                              </p:par>
                              <p:par>
                                <p:cTn id="41" presetID="2" presetClass="entr" presetSubtype="8" decel="100000" fill="hold" grpId="0" nodeType="withEffect">
                                  <p:stCondLst>
                                    <p:cond delay="20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700" fill="hold"/>
                                        <p:tgtEl>
                                          <p:spTgt spid="9"/>
                                        </p:tgtEl>
                                        <p:attrNameLst>
                                          <p:attrName>ppt_x</p:attrName>
                                        </p:attrNameLst>
                                      </p:cBhvr>
                                      <p:tavLst>
                                        <p:tav tm="0">
                                          <p:val>
                                            <p:strVal val="0-#ppt_w/2"/>
                                          </p:val>
                                        </p:tav>
                                        <p:tav tm="100000">
                                          <p:val>
                                            <p:strVal val="#ppt_x"/>
                                          </p:val>
                                        </p:tav>
                                      </p:tavLst>
                                    </p:anim>
                                    <p:anim calcmode="lin" valueType="num">
                                      <p:cBhvr additive="base">
                                        <p:cTn id="44" dur="700" fill="hold"/>
                                        <p:tgtEl>
                                          <p:spTgt spid="9"/>
                                        </p:tgtEl>
                                        <p:attrNameLst>
                                          <p:attrName>ppt_y</p:attrName>
                                        </p:attrNameLst>
                                      </p:cBhvr>
                                      <p:tavLst>
                                        <p:tav tm="0">
                                          <p:val>
                                            <p:strVal val="#ppt_y"/>
                                          </p:val>
                                        </p:tav>
                                        <p:tav tm="100000">
                                          <p:val>
                                            <p:strVal val="#ppt_y"/>
                                          </p:val>
                                        </p:tav>
                                      </p:tavLst>
                                    </p:anim>
                                  </p:childTnLst>
                                </p:cTn>
                              </p:par>
                            </p:childTnLst>
                          </p:cTn>
                        </p:par>
                        <p:par>
                          <p:cTn id="45" fill="hold">
                            <p:stCondLst>
                              <p:cond delay="1550"/>
                            </p:stCondLst>
                            <p:childTnLst>
                              <p:par>
                                <p:cTn id="46" presetID="2" presetClass="entr" presetSubtype="8" decel="100000" fill="hold" grpId="0" nodeType="afterEffect">
                                  <p:stCondLst>
                                    <p:cond delay="0"/>
                                  </p:stCondLst>
                                  <p:childTnLst>
                                    <p:set>
                                      <p:cBhvr>
                                        <p:cTn id="47" dur="1" fill="hold">
                                          <p:stCondLst>
                                            <p:cond delay="0"/>
                                          </p:stCondLst>
                                        </p:cTn>
                                        <p:tgtEl>
                                          <p:spTgt spid="4"/>
                                        </p:tgtEl>
                                        <p:attrNameLst>
                                          <p:attrName>style.visibility</p:attrName>
                                        </p:attrNameLst>
                                      </p:cBhvr>
                                      <p:to>
                                        <p:strVal val="visible"/>
                                      </p:to>
                                    </p:set>
                                    <p:anim calcmode="lin" valueType="num">
                                      <p:cBhvr additive="base">
                                        <p:cTn id="48" dur="700" fill="hold"/>
                                        <p:tgtEl>
                                          <p:spTgt spid="4"/>
                                        </p:tgtEl>
                                        <p:attrNameLst>
                                          <p:attrName>ppt_x</p:attrName>
                                        </p:attrNameLst>
                                      </p:cBhvr>
                                      <p:tavLst>
                                        <p:tav tm="0">
                                          <p:val>
                                            <p:strVal val="0-#ppt_w/2"/>
                                          </p:val>
                                        </p:tav>
                                        <p:tav tm="100000">
                                          <p:val>
                                            <p:strVal val="#ppt_x"/>
                                          </p:val>
                                        </p:tav>
                                      </p:tavLst>
                                    </p:anim>
                                    <p:anim calcmode="lin" valueType="num">
                                      <p:cBhvr additive="base">
                                        <p:cTn id="49" dur="700" fill="hold"/>
                                        <p:tgtEl>
                                          <p:spTgt spid="4"/>
                                        </p:tgtEl>
                                        <p:attrNameLst>
                                          <p:attrName>ppt_y</p:attrName>
                                        </p:attrNameLst>
                                      </p:cBhvr>
                                      <p:tavLst>
                                        <p:tav tm="0">
                                          <p:val>
                                            <p:strVal val="#ppt_y"/>
                                          </p:val>
                                        </p:tav>
                                        <p:tav tm="100000">
                                          <p:val>
                                            <p:strVal val="#ppt_y"/>
                                          </p:val>
                                        </p:tav>
                                      </p:tavLst>
                                    </p:anim>
                                  </p:childTnLst>
                                </p:cTn>
                              </p:par>
                              <p:par>
                                <p:cTn id="50" presetID="2" presetClass="entr" presetSubtype="8" decel="100000" fill="hold" grpId="0" nodeType="withEffect">
                                  <p:stCondLst>
                                    <p:cond delay="100"/>
                                  </p:stCondLst>
                                  <p:childTnLst>
                                    <p:set>
                                      <p:cBhvr>
                                        <p:cTn id="51" dur="1" fill="hold">
                                          <p:stCondLst>
                                            <p:cond delay="0"/>
                                          </p:stCondLst>
                                        </p:cTn>
                                        <p:tgtEl>
                                          <p:spTgt spid="5"/>
                                        </p:tgtEl>
                                        <p:attrNameLst>
                                          <p:attrName>style.visibility</p:attrName>
                                        </p:attrNameLst>
                                      </p:cBhvr>
                                      <p:to>
                                        <p:strVal val="visible"/>
                                      </p:to>
                                    </p:set>
                                    <p:anim calcmode="lin" valueType="num">
                                      <p:cBhvr additive="base">
                                        <p:cTn id="52" dur="700" fill="hold"/>
                                        <p:tgtEl>
                                          <p:spTgt spid="5"/>
                                        </p:tgtEl>
                                        <p:attrNameLst>
                                          <p:attrName>ppt_x</p:attrName>
                                        </p:attrNameLst>
                                      </p:cBhvr>
                                      <p:tavLst>
                                        <p:tav tm="0">
                                          <p:val>
                                            <p:strVal val="0-#ppt_w/2"/>
                                          </p:val>
                                        </p:tav>
                                        <p:tav tm="100000">
                                          <p:val>
                                            <p:strVal val="#ppt_x"/>
                                          </p:val>
                                        </p:tav>
                                      </p:tavLst>
                                    </p:anim>
                                    <p:anim calcmode="lin" valueType="num">
                                      <p:cBhvr additive="base">
                                        <p:cTn id="53" dur="700" fill="hold"/>
                                        <p:tgtEl>
                                          <p:spTgt spid="5"/>
                                        </p:tgtEl>
                                        <p:attrNameLst>
                                          <p:attrName>ppt_y</p:attrName>
                                        </p:attrNameLst>
                                      </p:cBhvr>
                                      <p:tavLst>
                                        <p:tav tm="0">
                                          <p:val>
                                            <p:strVal val="#ppt_y"/>
                                          </p:val>
                                        </p:tav>
                                        <p:tav tm="100000">
                                          <p:val>
                                            <p:strVal val="#ppt_y"/>
                                          </p:val>
                                        </p:tav>
                                      </p:tavLst>
                                    </p:anim>
                                  </p:childTnLst>
                                </p:cTn>
                              </p:par>
                              <p:par>
                                <p:cTn id="54" presetID="2" presetClass="entr" presetSubtype="8" decel="100000" fill="hold" grpId="0" nodeType="withEffect">
                                  <p:stCondLst>
                                    <p:cond delay="200"/>
                                  </p:stCondLst>
                                  <p:childTnLst>
                                    <p:set>
                                      <p:cBhvr>
                                        <p:cTn id="55" dur="1" fill="hold">
                                          <p:stCondLst>
                                            <p:cond delay="0"/>
                                          </p:stCondLst>
                                        </p:cTn>
                                        <p:tgtEl>
                                          <p:spTgt spid="6"/>
                                        </p:tgtEl>
                                        <p:attrNameLst>
                                          <p:attrName>style.visibility</p:attrName>
                                        </p:attrNameLst>
                                      </p:cBhvr>
                                      <p:to>
                                        <p:strVal val="visible"/>
                                      </p:to>
                                    </p:set>
                                    <p:anim calcmode="lin" valueType="num">
                                      <p:cBhvr additive="base">
                                        <p:cTn id="56" dur="700" fill="hold"/>
                                        <p:tgtEl>
                                          <p:spTgt spid="6"/>
                                        </p:tgtEl>
                                        <p:attrNameLst>
                                          <p:attrName>ppt_x</p:attrName>
                                        </p:attrNameLst>
                                      </p:cBhvr>
                                      <p:tavLst>
                                        <p:tav tm="0">
                                          <p:val>
                                            <p:strVal val="0-#ppt_w/2"/>
                                          </p:val>
                                        </p:tav>
                                        <p:tav tm="100000">
                                          <p:val>
                                            <p:strVal val="#ppt_x"/>
                                          </p:val>
                                        </p:tav>
                                      </p:tavLst>
                                    </p:anim>
                                    <p:anim calcmode="lin" valueType="num">
                                      <p:cBhvr additive="base">
                                        <p:cTn id="57" dur="7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2" grpId="0" animBg="1"/>
      <p:bldP spid="12" grpId="1" animBg="1"/>
      <p:bldP spid="12" grpId="2"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ASP.NET 5: </a:t>
            </a:r>
            <a:br>
              <a:rPr lang="en-US" dirty="0" smtClean="0"/>
            </a:br>
            <a:r>
              <a:rPr lang="en-US" dirty="0" smtClean="0"/>
              <a:t>The Future of .NET on the Server</a:t>
            </a:r>
            <a:endParaRPr lang="en-US" dirty="0"/>
          </a:p>
        </p:txBody>
      </p:sp>
      <p:sp>
        <p:nvSpPr>
          <p:cNvPr id="5" name="Text Placeholder 4"/>
          <p:cNvSpPr>
            <a:spLocks noGrp="1"/>
          </p:cNvSpPr>
          <p:nvPr>
            <p:ph type="body" sz="quarter" idx="13"/>
          </p:nvPr>
        </p:nvSpPr>
        <p:spPr/>
        <p:txBody>
          <a:bodyPr/>
          <a:lstStyle/>
          <a:p>
            <a:endParaRPr lang="en-US" dirty="0" smtClean="0"/>
          </a:p>
          <a:p>
            <a:pPr lvl="1"/>
            <a:endParaRPr lang="en-US" dirty="0" smtClean="0"/>
          </a:p>
        </p:txBody>
      </p:sp>
      <p:sp>
        <p:nvSpPr>
          <p:cNvPr id="2" name="Rectangle 1"/>
          <p:cNvSpPr/>
          <p:nvPr/>
        </p:nvSpPr>
        <p:spPr>
          <a:xfrm>
            <a:off x="442517" y="2302865"/>
            <a:ext cx="9987478" cy="3527119"/>
          </a:xfrm>
          <a:prstGeom prst="rect">
            <a:avLst/>
          </a:prstGeom>
        </p:spPr>
        <p:txBody>
          <a:bodyPr wrap="none">
            <a:spAutoFit/>
          </a:bodyPr>
          <a:lstStyle/>
          <a:p>
            <a:pPr marL="571500" lvl="0" indent="-571500">
              <a:lnSpc>
                <a:spcPct val="90000"/>
              </a:lnSpc>
              <a:spcBef>
                <a:spcPct val="20000"/>
              </a:spcBef>
              <a:buSzPct val="105000"/>
              <a:buBlip>
                <a:blip r:embed="rId3"/>
              </a:buBlip>
            </a:pPr>
            <a:r>
              <a:rPr lang="en-US" sz="3600" dirty="0">
                <a:solidFill>
                  <a:schemeClr val="bg1"/>
                </a:solidFill>
                <a:latin typeface="+mj-lt"/>
              </a:rPr>
              <a:t>New flexible and cross-platform runtime</a:t>
            </a:r>
          </a:p>
          <a:p>
            <a:pPr marL="571500" lvl="0" indent="-571500">
              <a:lnSpc>
                <a:spcPct val="90000"/>
              </a:lnSpc>
              <a:spcBef>
                <a:spcPct val="20000"/>
              </a:spcBef>
              <a:buSzPct val="105000"/>
              <a:buBlip>
                <a:blip r:embed="rId3"/>
              </a:buBlip>
            </a:pPr>
            <a:r>
              <a:rPr lang="en-US" sz="3600" dirty="0">
                <a:solidFill>
                  <a:schemeClr val="bg1"/>
                </a:solidFill>
                <a:latin typeface="+mj-lt"/>
              </a:rPr>
              <a:t>New modular HTTP request pipeline</a:t>
            </a:r>
          </a:p>
          <a:p>
            <a:pPr marL="571500" lvl="0" indent="-571500">
              <a:lnSpc>
                <a:spcPct val="90000"/>
              </a:lnSpc>
              <a:spcBef>
                <a:spcPct val="20000"/>
              </a:spcBef>
              <a:buSzPct val="105000"/>
              <a:buBlip>
                <a:blip r:embed="rId3"/>
              </a:buBlip>
            </a:pPr>
            <a:r>
              <a:rPr lang="en-US" sz="3600" dirty="0">
                <a:solidFill>
                  <a:schemeClr val="bg1"/>
                </a:solidFill>
                <a:latin typeface="+mj-lt"/>
              </a:rPr>
              <a:t>Built cloud ready</a:t>
            </a:r>
          </a:p>
          <a:p>
            <a:pPr marL="571500" lvl="0" indent="-571500">
              <a:lnSpc>
                <a:spcPct val="90000"/>
              </a:lnSpc>
              <a:spcBef>
                <a:spcPct val="20000"/>
              </a:spcBef>
              <a:buSzPct val="105000"/>
              <a:buBlip>
                <a:blip r:embed="rId3"/>
              </a:buBlip>
            </a:pPr>
            <a:r>
              <a:rPr lang="en-US" sz="3600" dirty="0" smtClean="0">
                <a:solidFill>
                  <a:schemeClr val="bg1"/>
                </a:solidFill>
                <a:latin typeface="+mj-lt"/>
              </a:rPr>
              <a:t>Agile </a:t>
            </a:r>
            <a:r>
              <a:rPr lang="en-US" sz="3600" dirty="0">
                <a:solidFill>
                  <a:schemeClr val="bg1"/>
                </a:solidFill>
                <a:latin typeface="+mj-lt"/>
              </a:rPr>
              <a:t>development with the tools of your choice</a:t>
            </a:r>
          </a:p>
          <a:p>
            <a:pPr marL="571500" lvl="0" indent="-571500">
              <a:lnSpc>
                <a:spcPct val="90000"/>
              </a:lnSpc>
              <a:spcBef>
                <a:spcPct val="20000"/>
              </a:spcBef>
              <a:buSzPct val="105000"/>
              <a:buBlip>
                <a:blip r:embed="rId3"/>
              </a:buBlip>
            </a:pPr>
            <a:r>
              <a:rPr lang="en-US" sz="3600" dirty="0">
                <a:solidFill>
                  <a:schemeClr val="bg1"/>
                </a:solidFill>
                <a:latin typeface="+mj-lt"/>
              </a:rPr>
              <a:t>Open </a:t>
            </a:r>
            <a:r>
              <a:rPr lang="en-US" sz="3600" dirty="0" smtClean="0">
                <a:solidFill>
                  <a:schemeClr val="bg1"/>
                </a:solidFill>
                <a:latin typeface="+mj-lt"/>
              </a:rPr>
              <a:t>source</a:t>
            </a:r>
            <a:br>
              <a:rPr lang="en-US" sz="3600" dirty="0" smtClean="0">
                <a:solidFill>
                  <a:schemeClr val="bg1"/>
                </a:solidFill>
                <a:latin typeface="+mj-lt"/>
              </a:rPr>
            </a:br>
            <a:r>
              <a:rPr lang="en-US" sz="3600" dirty="0" smtClean="0">
                <a:ln>
                  <a:solidFill>
                    <a:schemeClr val="bg1"/>
                  </a:solidFill>
                </a:ln>
                <a:solidFill>
                  <a:schemeClr val="bg2"/>
                </a:solidFill>
                <a:latin typeface="+mj-lt"/>
                <a:hlinkClick r:id="rId4"/>
              </a:rPr>
              <a:t>http</a:t>
            </a:r>
            <a:r>
              <a:rPr lang="en-US" sz="3600" dirty="0">
                <a:ln>
                  <a:solidFill>
                    <a:schemeClr val="bg1"/>
                  </a:solidFill>
                </a:ln>
                <a:solidFill>
                  <a:schemeClr val="bg2"/>
                </a:solidFill>
                <a:latin typeface="+mj-lt"/>
                <a:hlinkClick r:id="rId4"/>
              </a:rPr>
              <a:t>://</a:t>
            </a:r>
            <a:r>
              <a:rPr lang="en-US" sz="3600" b="1" dirty="0" smtClean="0">
                <a:ln>
                  <a:solidFill>
                    <a:schemeClr val="bg1"/>
                  </a:solidFill>
                </a:ln>
                <a:solidFill>
                  <a:schemeClr val="bg2"/>
                </a:solidFill>
                <a:latin typeface="+mj-lt"/>
                <a:hlinkClick r:id="rId4"/>
              </a:rPr>
              <a:t>github</a:t>
            </a:r>
            <a:r>
              <a:rPr lang="en-US" sz="3600" dirty="0" smtClean="0">
                <a:ln>
                  <a:solidFill>
                    <a:schemeClr val="bg1"/>
                  </a:solidFill>
                </a:ln>
                <a:solidFill>
                  <a:schemeClr val="bg2"/>
                </a:solidFill>
                <a:latin typeface="+mj-lt"/>
                <a:hlinkClick r:id="rId4"/>
              </a:rPr>
              <a:t>.com/aspnet/home</a:t>
            </a:r>
            <a:r>
              <a:rPr lang="en-US" sz="3600" dirty="0" smtClean="0">
                <a:ln>
                  <a:solidFill>
                    <a:schemeClr val="bg1"/>
                  </a:solidFill>
                </a:ln>
                <a:solidFill>
                  <a:schemeClr val="bg1"/>
                </a:solidFill>
                <a:latin typeface="+mj-lt"/>
              </a:rPr>
              <a:t> </a:t>
            </a:r>
            <a:endParaRPr lang="en-US" sz="3600" dirty="0">
              <a:ln>
                <a:solidFill>
                  <a:schemeClr val="bg1"/>
                </a:solidFill>
              </a:ln>
              <a:solidFill>
                <a:schemeClr val="bg1"/>
              </a:solidFill>
              <a:latin typeface="+mj-lt"/>
            </a:endParaRPr>
          </a:p>
        </p:txBody>
      </p:sp>
    </p:spTree>
    <p:extLst>
      <p:ext uri="{BB962C8B-B14F-4D97-AF65-F5344CB8AC3E}">
        <p14:creationId xmlns:p14="http://schemas.microsoft.com/office/powerpoint/2010/main" val="32707635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New flexible </a:t>
            </a:r>
            <a:r>
              <a:rPr lang="en-US" dirty="0"/>
              <a:t>and cross-platform runtime</a:t>
            </a:r>
            <a:br>
              <a:rPr lang="en-US" dirty="0"/>
            </a:br>
            <a:endParaRPr lang="en-US" dirty="0"/>
          </a:p>
        </p:txBody>
      </p:sp>
      <p:sp>
        <p:nvSpPr>
          <p:cNvPr id="3" name="Text Placeholder 2"/>
          <p:cNvSpPr>
            <a:spLocks noGrp="1"/>
          </p:cNvSpPr>
          <p:nvPr>
            <p:ph idx="1"/>
          </p:nvPr>
        </p:nvSpPr>
        <p:spPr/>
        <p:txBody>
          <a:bodyPr>
            <a:normAutofit lnSpcReduction="10000"/>
          </a:bodyPr>
          <a:lstStyle/>
          <a:p>
            <a:r>
              <a:rPr lang="en-US" dirty="0" smtClean="0"/>
              <a:t>Flexible and cross-platform CLR hosting</a:t>
            </a:r>
          </a:p>
          <a:p>
            <a:pPr lvl="1"/>
            <a:r>
              <a:rPr lang="en-US" b="1" dirty="0" smtClean="0"/>
              <a:t>.NET </a:t>
            </a:r>
            <a:r>
              <a:rPr lang="en-US" dirty="0" smtClean="0"/>
              <a:t>- Maximum </a:t>
            </a:r>
            <a:r>
              <a:rPr lang="en-US" dirty="0"/>
              <a:t>compatibility</a:t>
            </a:r>
          </a:p>
          <a:p>
            <a:pPr lvl="1"/>
            <a:r>
              <a:rPr lang="en-US" b="1" dirty="0" smtClean="0"/>
              <a:t>Cloud Optimized </a:t>
            </a:r>
            <a:r>
              <a:rPr lang="en-US" dirty="0" smtClean="0"/>
              <a:t>– Be fully self-contained and support true </a:t>
            </a:r>
            <a:r>
              <a:rPr lang="en-US" dirty="0"/>
              <a:t>side-by-side </a:t>
            </a:r>
            <a:r>
              <a:rPr lang="en-US" dirty="0" smtClean="0"/>
              <a:t>versioning!</a:t>
            </a:r>
          </a:p>
          <a:p>
            <a:pPr lvl="1"/>
            <a:r>
              <a:rPr lang="en-US" b="1" dirty="0" smtClean="0"/>
              <a:t>Mono</a:t>
            </a:r>
            <a:r>
              <a:rPr lang="en-US" dirty="0" smtClean="0"/>
              <a:t> – Run on Mac/Linux!</a:t>
            </a:r>
            <a:endParaRPr lang="en-US" dirty="0"/>
          </a:p>
          <a:p>
            <a:r>
              <a:rPr lang="en-US" dirty="0" smtClean="0"/>
              <a:t>Better dependency management</a:t>
            </a:r>
          </a:p>
          <a:p>
            <a:pPr lvl="1"/>
            <a:r>
              <a:rPr lang="en-US" dirty="0" smtClean="0"/>
              <a:t>Assembly references → </a:t>
            </a:r>
            <a:r>
              <a:rPr lang="en-US" dirty="0" err="1" smtClean="0"/>
              <a:t>NuGet</a:t>
            </a:r>
            <a:r>
              <a:rPr lang="en-US" dirty="0" smtClean="0"/>
              <a:t> package dependencies </a:t>
            </a:r>
          </a:p>
          <a:p>
            <a:r>
              <a:rPr lang="en-US" dirty="0" smtClean="0"/>
              <a:t>Integrated runtime compilation with Roslyn</a:t>
            </a:r>
          </a:p>
          <a:p>
            <a:pPr lvl="1"/>
            <a:endParaRPr lang="en-US" dirty="0" smtClean="0"/>
          </a:p>
          <a:p>
            <a:pPr lvl="1"/>
            <a:endParaRPr lang="en-US" dirty="0"/>
          </a:p>
        </p:txBody>
      </p:sp>
    </p:spTree>
    <p:extLst>
      <p:ext uri="{BB962C8B-B14F-4D97-AF65-F5344CB8AC3E}">
        <p14:creationId xmlns:p14="http://schemas.microsoft.com/office/powerpoint/2010/main" val="2970480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 - Cloud Optimized</a:t>
            </a:r>
            <a:endParaRPr lang="en-US" dirty="0"/>
          </a:p>
        </p:txBody>
      </p:sp>
      <p:sp>
        <p:nvSpPr>
          <p:cNvPr id="3" name="Text Placeholder 2"/>
          <p:cNvSpPr>
            <a:spLocks noGrp="1"/>
          </p:cNvSpPr>
          <p:nvPr>
            <p:ph idx="1"/>
          </p:nvPr>
        </p:nvSpPr>
        <p:spPr>
          <a:solidFill>
            <a:srgbClr val="0171B0"/>
          </a:solidFill>
        </p:spPr>
        <p:txBody>
          <a:bodyPr/>
          <a:lstStyle/>
          <a:p>
            <a:r>
              <a:rPr lang="en-US" dirty="0" smtClean="0"/>
              <a:t>Slimmed down to just the “Core” (a.k.a. </a:t>
            </a:r>
            <a:r>
              <a:rPr lang="en-US" dirty="0" err="1" smtClean="0"/>
              <a:t>CoreCLR</a:t>
            </a:r>
            <a:r>
              <a:rPr lang="en-US" dirty="0" smtClean="0"/>
              <a:t>)</a:t>
            </a:r>
          </a:p>
          <a:p>
            <a:pPr lvl="1"/>
            <a:r>
              <a:rPr lang="en-US" dirty="0" smtClean="0"/>
              <a:t>No </a:t>
            </a:r>
            <a:r>
              <a:rPr lang="en-US" dirty="0" err="1" smtClean="0"/>
              <a:t>WinForms</a:t>
            </a:r>
            <a:r>
              <a:rPr lang="en-US" dirty="0" smtClean="0"/>
              <a:t>, </a:t>
            </a:r>
            <a:r>
              <a:rPr lang="en-US" dirty="0" err="1" smtClean="0"/>
              <a:t>WebForms</a:t>
            </a:r>
            <a:r>
              <a:rPr lang="en-US" dirty="0" smtClean="0"/>
              <a:t>, WCF, WIF, WF, etc.</a:t>
            </a:r>
          </a:p>
          <a:p>
            <a:r>
              <a:rPr lang="en-US" dirty="0" smtClean="0"/>
              <a:t>Modernized API surface area</a:t>
            </a:r>
          </a:p>
          <a:p>
            <a:pPr lvl="1"/>
            <a:r>
              <a:rPr lang="en-US" dirty="0" smtClean="0"/>
              <a:t>Use </a:t>
            </a:r>
            <a:r>
              <a:rPr lang="en-US" dirty="0" smtClean="0">
                <a:ln>
                  <a:solidFill>
                    <a:schemeClr val="bg1"/>
                  </a:solidFill>
                </a:ln>
                <a:hlinkClick r:id="rId3"/>
              </a:rPr>
              <a:t>API Portability Analyzer</a:t>
            </a:r>
            <a:r>
              <a:rPr lang="en-US" dirty="0" smtClean="0">
                <a:ln>
                  <a:solidFill>
                    <a:schemeClr val="bg1"/>
                  </a:solidFill>
                </a:ln>
              </a:rPr>
              <a:t> </a:t>
            </a:r>
            <a:r>
              <a:rPr lang="en-US" dirty="0" smtClean="0"/>
              <a:t>tool to find out what’s different</a:t>
            </a:r>
          </a:p>
          <a:p>
            <a:r>
              <a:rPr lang="en-US" dirty="0" smtClean="0"/>
              <a:t>Factored as </a:t>
            </a:r>
            <a:r>
              <a:rPr lang="en-US" dirty="0" err="1" smtClean="0"/>
              <a:t>NuGet</a:t>
            </a:r>
            <a:r>
              <a:rPr lang="en-US" dirty="0" smtClean="0"/>
              <a:t> packages</a:t>
            </a:r>
          </a:p>
          <a:p>
            <a:r>
              <a:rPr lang="en-US" dirty="0" smtClean="0"/>
              <a:t>True side-by-side versioning</a:t>
            </a:r>
          </a:p>
        </p:txBody>
      </p:sp>
    </p:spTree>
    <p:extLst>
      <p:ext uri="{BB962C8B-B14F-4D97-AF65-F5344CB8AC3E}">
        <p14:creationId xmlns:p14="http://schemas.microsoft.com/office/powerpoint/2010/main" val="64789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A4136940-2F30-4F5C-9ED6-88F2C49C1AE1}"/>
    </a:ext>
  </a:extLst>
</a:theme>
</file>

<file path=ppt/theme/theme10.xml><?xml version="1.0" encoding="utf-8"?>
<a:theme xmlns:a="http://schemas.openxmlformats.org/drawingml/2006/main" name="1_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4.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webcamp">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webcamp" id="{264DA1D8-4737-4841-AFED-7DBABF33ABB4}" vid="{F47B03CF-4DA6-472B-9A69-76187EE5F26E}"/>
    </a:ext>
  </a:extLst>
</a:theme>
</file>

<file path=ppt/theme/theme6.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Ed 2014 Speaker Template</Template>
  <TotalTime>0</TotalTime>
  <Words>4327</Words>
  <Application>Microsoft Office PowerPoint</Application>
  <PresentationFormat>Custom</PresentationFormat>
  <Paragraphs>375</Paragraphs>
  <Slides>30</Slides>
  <Notes>22</Notes>
  <HiddenSlides>0</HiddenSlides>
  <MMClips>1</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30</vt:i4>
      </vt:variant>
    </vt:vector>
  </HeadingPairs>
  <TitlesOfParts>
    <vt:vector size="55" baseType="lpstr">
      <vt:lpstr>ＭＳ Ｐゴシック</vt:lpstr>
      <vt:lpstr>Arial</vt:lpstr>
      <vt:lpstr>Avenir LT Pro 45 Book</vt:lpstr>
      <vt:lpstr>Calibri</vt:lpstr>
      <vt:lpstr>Calibri Light</vt:lpstr>
      <vt:lpstr>Consolas</vt:lpstr>
      <vt:lpstr>Segoe Semibold</vt:lpstr>
      <vt:lpstr>Segoe UI</vt:lpstr>
      <vt:lpstr>Segoe UI Light</vt:lpstr>
      <vt:lpstr>Segoe UI Semibold</vt:lpstr>
      <vt:lpstr>Wingdings</vt:lpstr>
      <vt:lpstr>1_5-30536_Build_2014_Breakout_Template_White_16x9</vt:lpstr>
      <vt:lpstr>MSVID_White_16x9_2012-08-18</vt:lpstr>
      <vt:lpstr>5-30551_TR19_BO_CT_Template</vt:lpstr>
      <vt:lpstr>Azure Basic</vt:lpstr>
      <vt:lpstr>webcamp</vt:lpstr>
      <vt:lpstr>Azure Medium</vt:lpstr>
      <vt:lpstr>Azure Green</vt:lpstr>
      <vt:lpstr>Azure Graphite</vt:lpstr>
      <vt:lpstr>Azure Dark</vt:lpstr>
      <vt:lpstr>1_Azure Basic</vt:lpstr>
      <vt:lpstr>Azure Noir</vt:lpstr>
      <vt:lpstr>1_Azure Dark</vt:lpstr>
      <vt:lpstr>1_Azure Medium</vt:lpstr>
      <vt:lpstr>think-cell Slide</vt:lpstr>
      <vt:lpstr>ASP.NET 5</vt:lpstr>
      <vt:lpstr>Agenda</vt:lpstr>
      <vt:lpstr>PowerPoint Presentation</vt:lpstr>
      <vt:lpstr>.NET – Current state of Web and Services</vt:lpstr>
      <vt:lpstr>PowerPoint Presentation</vt:lpstr>
      <vt:lpstr>Our new approach to building .NET</vt:lpstr>
      <vt:lpstr>ASP.NET 5:  The Future of .NET on the Server</vt:lpstr>
      <vt:lpstr>New flexible and cross-platform runtime </vt:lpstr>
      <vt:lpstr>.NET - Cloud Optimized</vt:lpstr>
      <vt:lpstr>New modular HTTP request pipeline </vt:lpstr>
      <vt:lpstr>Built cloud ready</vt:lpstr>
      <vt:lpstr>Agile development</vt:lpstr>
      <vt:lpstr>ASP.NET 5 - Compatibility</vt:lpstr>
      <vt:lpstr>The world today – similar, but different</vt:lpstr>
      <vt:lpstr>MVC + Web API + Web Pages =  ASP.NET MVC 6!</vt:lpstr>
      <vt:lpstr>Frameworks – all the familiar faces</vt:lpstr>
      <vt:lpstr>ASP.NET 5 Demo</vt:lpstr>
      <vt:lpstr>ASP.NET 5 Resources</vt:lpstr>
      <vt:lpstr>PowerPoint Presentation</vt:lpstr>
      <vt:lpstr>PowerPoint Presentation</vt:lpstr>
      <vt:lpstr>What we learned today</vt:lpstr>
      <vt:lpstr>What we learned today</vt:lpstr>
      <vt:lpstr>What we learned today</vt:lpstr>
      <vt:lpstr>What you can do next</vt:lpstr>
      <vt:lpstr>Top resources for more info</vt:lpstr>
      <vt:lpstr>ASP.NET Questions</vt:lpstr>
      <vt:lpstr>Web Camps</vt:lpstr>
      <vt:lpstr>Microsoft Azure</vt:lpstr>
      <vt:lpstr>ASP.NET site</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4-07-18T03:00:20Z</dcterms:created>
  <dcterms:modified xsi:type="dcterms:W3CDTF">2015-02-10T21:50:53Z</dcterms:modified>
</cp:coreProperties>
</file>